
<file path=[Content_Types].xml><?xml version="1.0" encoding="utf-8"?>
<Types xmlns="http://schemas.openxmlformats.org/package/2006/content-types">
  <Default Extension="bin" ContentType="application/vnd.openxmlformats-officedocument.oleObject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60" r:id="rId2"/>
  </p:sldMasterIdLst>
  <p:notesMasterIdLst>
    <p:notesMasterId r:id="rId30"/>
  </p:notesMasterIdLst>
  <p:handoutMasterIdLst>
    <p:handoutMasterId r:id="rId31"/>
  </p:handoutMasterIdLst>
  <p:sldIdLst>
    <p:sldId id="256" r:id="rId3"/>
    <p:sldId id="258" r:id="rId4"/>
    <p:sldId id="257" r:id="rId5"/>
    <p:sldId id="305" r:id="rId6"/>
    <p:sldId id="306" r:id="rId7"/>
    <p:sldId id="307" r:id="rId8"/>
    <p:sldId id="279" r:id="rId9"/>
    <p:sldId id="280" r:id="rId10"/>
    <p:sldId id="281" r:id="rId11"/>
    <p:sldId id="300" r:id="rId12"/>
    <p:sldId id="293" r:id="rId13"/>
    <p:sldId id="283" r:id="rId14"/>
    <p:sldId id="284" r:id="rId15"/>
    <p:sldId id="301" r:id="rId16"/>
    <p:sldId id="292" r:id="rId17"/>
    <p:sldId id="274" r:id="rId18"/>
    <p:sldId id="302" r:id="rId19"/>
    <p:sldId id="262" r:id="rId20"/>
    <p:sldId id="260" r:id="rId21"/>
    <p:sldId id="287" r:id="rId22"/>
    <p:sldId id="261" r:id="rId23"/>
    <p:sldId id="304" r:id="rId24"/>
    <p:sldId id="298" r:id="rId25"/>
    <p:sldId id="264" r:id="rId26"/>
    <p:sldId id="265" r:id="rId27"/>
    <p:sldId id="266" r:id="rId28"/>
    <p:sldId id="267" r:id="rId29"/>
  </p:sldIdLst>
  <p:sldSz cx="9144000" cy="6858000" type="screen4x3"/>
  <p:notesSz cx="6797675" cy="987266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areka, Nandi" initials="MN" lastIdx="1" clrIdx="0">
    <p:extLst>
      <p:ext uri="{19B8F6BF-5375-455C-9EA6-DF929625EA0E}">
        <p15:presenceInfo xmlns:p15="http://schemas.microsoft.com/office/powerpoint/2012/main" userId="S-1-5-21-172820803-184315659-518595180-5300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F00"/>
    <a:srgbClr val="FC1908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79730" autoAdjust="0"/>
  </p:normalViewPr>
  <p:slideViewPr>
    <p:cSldViewPr snapToGrid="0" snapToObjects="1">
      <p:cViewPr varScale="1">
        <p:scale>
          <a:sx n="106" d="100"/>
          <a:sy n="106" d="100"/>
        </p:scale>
        <p:origin x="132" y="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viewProps" Target="viewProp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commentAuthors" Target="commentAuthor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tableStyles" Target="tableStyle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notesMaster" Target="notesMasters/notesMaster1.xml"/><Relationship Id="rId35" Type="http://schemas.openxmlformats.org/officeDocument/2006/relationships/theme" Target="theme/theme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3_4">
  <dgm:title val=""/>
  <dgm:desc val=""/>
  <dgm:catLst>
    <dgm:cat type="accent3" pri="11400"/>
  </dgm:catLst>
  <dgm:styleLbl name="node0">
    <dgm:fillClrLst meth="cycle">
      <a:schemeClr val="accent3">
        <a:shade val="60000"/>
      </a:schemeClr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cycle">
      <a:schemeClr val="accent3">
        <a:shade val="50000"/>
      </a:schemeClr>
      <a:schemeClr val="accent3">
        <a:tint val="55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/>
    <dgm:txEffectClrLst/>
  </dgm:styleLbl>
  <dgm:styleLbl name="lnNode1">
    <dgm:fillClrLst meth="cycle">
      <a:schemeClr val="accent3">
        <a:shade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cycle">
      <a:schemeClr val="accent3">
        <a:shade val="80000"/>
        <a:alpha val="50000"/>
      </a:schemeClr>
      <a:schemeClr val="accent3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>
        <a:tint val="99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f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bgSibTrans2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/>
    <dgm:txEffectClrLst/>
  </dgm:styleLbl>
  <dgm:styleLbl name="sibTrans1D1">
    <dgm:fillClrLst meth="cycle">
      <a:schemeClr val="accent3">
        <a:shade val="90000"/>
      </a:schemeClr>
      <a:schemeClr val="accent3">
        <a:tint val="50000"/>
      </a:schemeClr>
    </dgm:fillClrLst>
    <dgm:linClrLst meth="cycle">
      <a:schemeClr val="accent3">
        <a:shade val="90000"/>
      </a:schemeClr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>
        <a:shade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>
        <a:tint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3">
        <a:tint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>
        <a:tint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3">
        <a:shade val="8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>
        <a:tint val="7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>
        <a:tint val="5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55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cycle">
      <a:schemeClr val="accent3">
        <a:shade val="50000"/>
      </a:schemeClr>
      <a:schemeClr val="accent3">
        <a:tint val="55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55000"/>
      </a:schemeClr>
    </dgm:fillClrLst>
    <dgm:linClrLst meth="repeat">
      <a:schemeClr val="accent3">
        <a:alpha val="90000"/>
        <a:tint val="55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55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55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55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3_1">
  <dgm:title val=""/>
  <dgm:desc val=""/>
  <dgm:catLst>
    <dgm:cat type="accent3" pri="11100"/>
  </dgm:catLst>
  <dgm:styleLbl name="node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lig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lnNode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accent3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node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40000"/>
      </a:schemeClr>
    </dgm:fillClrLst>
    <dgm:linClrLst meth="repeat">
      <a:schemeClr val="accent3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dk1"/>
    </dgm:txFillClrLst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1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2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3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asst4">
    <dgm:fillClrLst meth="repeat">
      <a:schemeClr val="lt1"/>
    </dgm:fillClrLst>
    <dgm:linClrLst meth="repeat">
      <a:schemeClr val="accent3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accent3">
        <a:alpha val="4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accent3"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accent3">
        <a:alpha val="90000"/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43709CAA-54D2-44C0-8DC0-1656415BF282}" type="doc">
      <dgm:prSet loTypeId="urn:microsoft.com/office/officeart/2009/3/layout/BlockDescendingLis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ZA"/>
        </a:p>
      </dgm:t>
    </dgm:pt>
    <dgm:pt modelId="{C293218A-BAAD-4BF3-A3A5-A6F8A80DF606}" type="pres">
      <dgm:prSet presAssocID="{43709CAA-54D2-44C0-8DC0-1656415BF282}" presName="Name0" presStyleCnt="0">
        <dgm:presLayoutVars>
          <dgm:chMax val="7"/>
          <dgm:chPref val="7"/>
          <dgm:dir/>
          <dgm:animLvl val="lvl"/>
        </dgm:presLayoutVars>
      </dgm:prSet>
      <dgm:spPr/>
    </dgm:pt>
  </dgm:ptLst>
  <dgm:cxnLst>
    <dgm:cxn modelId="{AA21D3A4-7C6F-4CA4-9C0E-AB1DACA58A75}" type="presOf" srcId="{43709CAA-54D2-44C0-8DC0-1656415BF282}" destId="{C293218A-BAAD-4BF3-A3A5-A6F8A80DF606}" srcOrd="0" destOrd="0" presId="urn:microsoft.com/office/officeart/2009/3/layout/BlockDescending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4054440D-A53C-4E92-9DC6-C8739E65FF04}" type="doc">
      <dgm:prSet loTypeId="urn:microsoft.com/office/officeart/2008/layout/HorizontalMultiLevelHierarchy" loCatId="hierarchy" qsTypeId="urn:microsoft.com/office/officeart/2005/8/quickstyle/simple2" qsCatId="simple" csTypeId="urn:microsoft.com/office/officeart/2005/8/colors/accent3_4" csCatId="accent3" phldr="1"/>
      <dgm:spPr/>
      <dgm:t>
        <a:bodyPr/>
        <a:lstStyle/>
        <a:p>
          <a:endParaRPr lang="en-ZA"/>
        </a:p>
      </dgm:t>
    </dgm:pt>
    <dgm:pt modelId="{DDE5F6AA-2B79-46FA-A92E-A205D05A317C}">
      <dgm:prSet phldrT="[Text]" custT="1"/>
      <dgm:spPr/>
      <dgm:t>
        <a:bodyPr/>
        <a:lstStyle/>
        <a:p>
          <a:r>
            <a:rPr lang="en-ZA" sz="3500" b="1" dirty="0"/>
            <a:t>Branch Finance</a:t>
          </a:r>
        </a:p>
      </dgm:t>
    </dgm:pt>
    <dgm:pt modelId="{F9D72B77-17F3-41D6-93E6-DDA642E79A73}" type="parTrans" cxnId="{79966832-0CE5-4F1C-AAAA-B79CCA54D92B}">
      <dgm:prSet/>
      <dgm:spPr/>
      <dgm:t>
        <a:bodyPr/>
        <a:lstStyle/>
        <a:p>
          <a:endParaRPr lang="en-ZA"/>
        </a:p>
      </dgm:t>
    </dgm:pt>
    <dgm:pt modelId="{B32DC9A9-D244-44B8-8673-287D2F09E841}" type="sibTrans" cxnId="{79966832-0CE5-4F1C-AAAA-B79CCA54D92B}">
      <dgm:prSet/>
      <dgm:spPr/>
      <dgm:t>
        <a:bodyPr/>
        <a:lstStyle/>
        <a:p>
          <a:endParaRPr lang="en-ZA"/>
        </a:p>
      </dgm:t>
    </dgm:pt>
    <dgm:pt modelId="{E9EF0847-D10B-4E0D-8D41-F718FFDD0680}">
      <dgm:prSet phldrT="[Text]"/>
      <dgm:spPr/>
      <dgm:t>
        <a:bodyPr/>
        <a:lstStyle/>
        <a:p>
          <a:r>
            <a:rPr lang="en-ZA" b="1" dirty="0"/>
            <a:t>Internal Control and Compliance (ICC)</a:t>
          </a:r>
        </a:p>
      </dgm:t>
    </dgm:pt>
    <dgm:pt modelId="{2B12AE26-BF43-4837-AB56-76F29FBA896A}" type="parTrans" cxnId="{346645BD-3F16-4580-B03C-8788BFBC394A}">
      <dgm:prSet/>
      <dgm:spPr/>
      <dgm:t>
        <a:bodyPr/>
        <a:lstStyle/>
        <a:p>
          <a:endParaRPr lang="en-ZA"/>
        </a:p>
      </dgm:t>
    </dgm:pt>
    <dgm:pt modelId="{10610453-4F6C-4945-938E-9B6E77ECBD06}" type="sibTrans" cxnId="{346645BD-3F16-4580-B03C-8788BFBC394A}">
      <dgm:prSet/>
      <dgm:spPr/>
      <dgm:t>
        <a:bodyPr/>
        <a:lstStyle/>
        <a:p>
          <a:endParaRPr lang="en-ZA"/>
        </a:p>
      </dgm:t>
    </dgm:pt>
    <dgm:pt modelId="{828B6FD8-1D34-4D20-A409-92B9CF83AC7F}">
      <dgm:prSet phldrT="[Text]"/>
      <dgm:spPr/>
      <dgm:t>
        <a:bodyPr/>
        <a:lstStyle/>
        <a:p>
          <a:r>
            <a:rPr lang="en-ZA" b="1" dirty="0"/>
            <a:t>Supply Chain Management (SCM)</a:t>
          </a:r>
        </a:p>
      </dgm:t>
    </dgm:pt>
    <dgm:pt modelId="{53C6CFDD-784E-4573-8554-A7718B705E91}" type="parTrans" cxnId="{696FB692-8D6B-4C7F-BBC6-65B5600BD6CA}">
      <dgm:prSet/>
      <dgm:spPr/>
      <dgm:t>
        <a:bodyPr/>
        <a:lstStyle/>
        <a:p>
          <a:endParaRPr lang="en-ZA"/>
        </a:p>
      </dgm:t>
    </dgm:pt>
    <dgm:pt modelId="{92926C22-07BE-4C02-9DD5-3C20D8E1177C}" type="sibTrans" cxnId="{696FB692-8D6B-4C7F-BBC6-65B5600BD6CA}">
      <dgm:prSet/>
      <dgm:spPr/>
      <dgm:t>
        <a:bodyPr/>
        <a:lstStyle/>
        <a:p>
          <a:endParaRPr lang="en-ZA"/>
        </a:p>
      </dgm:t>
    </dgm:pt>
    <dgm:pt modelId="{BC02D235-EE93-4956-AFAE-20830A525B18}">
      <dgm:prSet phldrT="[Text]"/>
      <dgm:spPr/>
      <dgm:t>
        <a:bodyPr/>
        <a:lstStyle/>
        <a:p>
          <a:r>
            <a:rPr lang="en-ZA" b="1" dirty="0"/>
            <a:t>Financial and Management Accounting (FMA) </a:t>
          </a:r>
        </a:p>
      </dgm:t>
    </dgm:pt>
    <dgm:pt modelId="{9EA00884-CFB2-418D-AF97-08DBF6C9C369}" type="parTrans" cxnId="{948E8819-3005-45B2-B0CB-88B4A5B32380}">
      <dgm:prSet/>
      <dgm:spPr/>
      <dgm:t>
        <a:bodyPr/>
        <a:lstStyle/>
        <a:p>
          <a:endParaRPr lang="en-ZA"/>
        </a:p>
      </dgm:t>
    </dgm:pt>
    <dgm:pt modelId="{F5614338-47CA-48C5-A2B0-82FE83AB0F6A}" type="sibTrans" cxnId="{948E8819-3005-45B2-B0CB-88B4A5B32380}">
      <dgm:prSet/>
      <dgm:spPr/>
      <dgm:t>
        <a:bodyPr/>
        <a:lstStyle/>
        <a:p>
          <a:endParaRPr lang="en-ZA"/>
        </a:p>
      </dgm:t>
    </dgm:pt>
    <dgm:pt modelId="{056BD04C-9A73-4E60-8496-DEBB12D96A1C}" type="pres">
      <dgm:prSet presAssocID="{4054440D-A53C-4E92-9DC6-C8739E65FF04}" presName="Name0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597710A7-FF0C-4574-A104-CE0E71E66741}" type="pres">
      <dgm:prSet presAssocID="{DDE5F6AA-2B79-46FA-A92E-A205D05A317C}" presName="root1" presStyleCnt="0"/>
      <dgm:spPr/>
    </dgm:pt>
    <dgm:pt modelId="{D7BB9731-E69E-4B64-829F-71E19EB96719}" type="pres">
      <dgm:prSet presAssocID="{DDE5F6AA-2B79-46FA-A92E-A205D05A317C}" presName="LevelOneTextNode" presStyleLbl="node0" presStyleIdx="0" presStyleCnt="1">
        <dgm:presLayoutVars>
          <dgm:chPref val="3"/>
        </dgm:presLayoutVars>
      </dgm:prSet>
      <dgm:spPr/>
    </dgm:pt>
    <dgm:pt modelId="{1DB09FE6-EA0F-4F03-93A1-33020E43E3AB}" type="pres">
      <dgm:prSet presAssocID="{DDE5F6AA-2B79-46FA-A92E-A205D05A317C}" presName="level2hierChild" presStyleCnt="0"/>
      <dgm:spPr/>
    </dgm:pt>
    <dgm:pt modelId="{FF71BEC2-A36B-4E84-B6F7-3A85E2C15987}" type="pres">
      <dgm:prSet presAssocID="{2B12AE26-BF43-4837-AB56-76F29FBA896A}" presName="conn2-1" presStyleLbl="parChTrans1D2" presStyleIdx="0" presStyleCnt="3"/>
      <dgm:spPr/>
    </dgm:pt>
    <dgm:pt modelId="{8841A18C-4BD5-4430-8B43-058CF83F280B}" type="pres">
      <dgm:prSet presAssocID="{2B12AE26-BF43-4837-AB56-76F29FBA896A}" presName="connTx" presStyleLbl="parChTrans1D2" presStyleIdx="0" presStyleCnt="3"/>
      <dgm:spPr/>
    </dgm:pt>
    <dgm:pt modelId="{C80DAD6A-B183-4D63-9DC1-827FEB611BCB}" type="pres">
      <dgm:prSet presAssocID="{E9EF0847-D10B-4E0D-8D41-F718FFDD0680}" presName="root2" presStyleCnt="0"/>
      <dgm:spPr/>
    </dgm:pt>
    <dgm:pt modelId="{8E9A72C5-47A6-42BE-B726-0C7967DB05A8}" type="pres">
      <dgm:prSet presAssocID="{E9EF0847-D10B-4E0D-8D41-F718FFDD0680}" presName="LevelTwoTextNode" presStyleLbl="node2" presStyleIdx="0" presStyleCnt="3">
        <dgm:presLayoutVars>
          <dgm:chPref val="3"/>
        </dgm:presLayoutVars>
      </dgm:prSet>
      <dgm:spPr/>
    </dgm:pt>
    <dgm:pt modelId="{FDC8BD0A-79C1-4537-9FB0-A217EB5E0E89}" type="pres">
      <dgm:prSet presAssocID="{E9EF0847-D10B-4E0D-8D41-F718FFDD0680}" presName="level3hierChild" presStyleCnt="0"/>
      <dgm:spPr/>
    </dgm:pt>
    <dgm:pt modelId="{67966FBE-D43C-4DBC-B249-3AA0A4D94A75}" type="pres">
      <dgm:prSet presAssocID="{53C6CFDD-784E-4573-8554-A7718B705E91}" presName="conn2-1" presStyleLbl="parChTrans1D2" presStyleIdx="1" presStyleCnt="3"/>
      <dgm:spPr/>
    </dgm:pt>
    <dgm:pt modelId="{8DC6FFAA-97B3-4F4F-BF74-47C8B4811271}" type="pres">
      <dgm:prSet presAssocID="{53C6CFDD-784E-4573-8554-A7718B705E91}" presName="connTx" presStyleLbl="parChTrans1D2" presStyleIdx="1" presStyleCnt="3"/>
      <dgm:spPr/>
    </dgm:pt>
    <dgm:pt modelId="{F22AF8E3-2C95-43CA-9F23-A64D9C3B1F6B}" type="pres">
      <dgm:prSet presAssocID="{828B6FD8-1D34-4D20-A409-92B9CF83AC7F}" presName="root2" presStyleCnt="0"/>
      <dgm:spPr/>
    </dgm:pt>
    <dgm:pt modelId="{65475152-409D-4026-8B0D-98F455074FA1}" type="pres">
      <dgm:prSet presAssocID="{828B6FD8-1D34-4D20-A409-92B9CF83AC7F}" presName="LevelTwoTextNode" presStyleLbl="node2" presStyleIdx="1" presStyleCnt="3">
        <dgm:presLayoutVars>
          <dgm:chPref val="3"/>
        </dgm:presLayoutVars>
      </dgm:prSet>
      <dgm:spPr/>
    </dgm:pt>
    <dgm:pt modelId="{B9F80FCC-FA96-4715-9DCA-70F180AAD47A}" type="pres">
      <dgm:prSet presAssocID="{828B6FD8-1D34-4D20-A409-92B9CF83AC7F}" presName="level3hierChild" presStyleCnt="0"/>
      <dgm:spPr/>
    </dgm:pt>
    <dgm:pt modelId="{55DF8898-1113-4EC8-89DF-A937CE222C69}" type="pres">
      <dgm:prSet presAssocID="{9EA00884-CFB2-418D-AF97-08DBF6C9C369}" presName="conn2-1" presStyleLbl="parChTrans1D2" presStyleIdx="2" presStyleCnt="3"/>
      <dgm:spPr/>
    </dgm:pt>
    <dgm:pt modelId="{50B5BCDD-CB7D-4031-AB55-AE3172C42FD9}" type="pres">
      <dgm:prSet presAssocID="{9EA00884-CFB2-418D-AF97-08DBF6C9C369}" presName="connTx" presStyleLbl="parChTrans1D2" presStyleIdx="2" presStyleCnt="3"/>
      <dgm:spPr/>
    </dgm:pt>
    <dgm:pt modelId="{6EB1C52A-C6E3-4473-9371-8B447ED7449A}" type="pres">
      <dgm:prSet presAssocID="{BC02D235-EE93-4956-AFAE-20830A525B18}" presName="root2" presStyleCnt="0"/>
      <dgm:spPr/>
    </dgm:pt>
    <dgm:pt modelId="{87DBE50F-6E07-481F-BA01-228B6AC9DFCF}" type="pres">
      <dgm:prSet presAssocID="{BC02D235-EE93-4956-AFAE-20830A525B18}" presName="LevelTwoTextNode" presStyleLbl="node2" presStyleIdx="2" presStyleCnt="3">
        <dgm:presLayoutVars>
          <dgm:chPref val="3"/>
        </dgm:presLayoutVars>
      </dgm:prSet>
      <dgm:spPr/>
    </dgm:pt>
    <dgm:pt modelId="{48A1F5FA-4BC1-43B6-9478-8E73A4CADE33}" type="pres">
      <dgm:prSet presAssocID="{BC02D235-EE93-4956-AFAE-20830A525B18}" presName="level3hierChild" presStyleCnt="0"/>
      <dgm:spPr/>
    </dgm:pt>
  </dgm:ptLst>
  <dgm:cxnLst>
    <dgm:cxn modelId="{4E391A0A-A781-458B-96BB-D8B2BF856673}" type="presOf" srcId="{2B12AE26-BF43-4837-AB56-76F29FBA896A}" destId="{FF71BEC2-A36B-4E84-B6F7-3A85E2C15987}" srcOrd="0" destOrd="0" presId="urn:microsoft.com/office/officeart/2008/layout/HorizontalMultiLevelHierarchy"/>
    <dgm:cxn modelId="{7FE05B18-BB8C-4EA2-A7A9-A297CDF696B0}" type="presOf" srcId="{4054440D-A53C-4E92-9DC6-C8739E65FF04}" destId="{056BD04C-9A73-4E60-8496-DEBB12D96A1C}" srcOrd="0" destOrd="0" presId="urn:microsoft.com/office/officeart/2008/layout/HorizontalMultiLevelHierarchy"/>
    <dgm:cxn modelId="{948E8819-3005-45B2-B0CB-88B4A5B32380}" srcId="{DDE5F6AA-2B79-46FA-A92E-A205D05A317C}" destId="{BC02D235-EE93-4956-AFAE-20830A525B18}" srcOrd="2" destOrd="0" parTransId="{9EA00884-CFB2-418D-AF97-08DBF6C9C369}" sibTransId="{F5614338-47CA-48C5-A2B0-82FE83AB0F6A}"/>
    <dgm:cxn modelId="{0347692F-D844-4E6C-8D60-BF2009681AE7}" type="presOf" srcId="{DDE5F6AA-2B79-46FA-A92E-A205D05A317C}" destId="{D7BB9731-E69E-4B64-829F-71E19EB96719}" srcOrd="0" destOrd="0" presId="urn:microsoft.com/office/officeart/2008/layout/HorizontalMultiLevelHierarchy"/>
    <dgm:cxn modelId="{79966832-0CE5-4F1C-AAAA-B79CCA54D92B}" srcId="{4054440D-A53C-4E92-9DC6-C8739E65FF04}" destId="{DDE5F6AA-2B79-46FA-A92E-A205D05A317C}" srcOrd="0" destOrd="0" parTransId="{F9D72B77-17F3-41D6-93E6-DDA642E79A73}" sibTransId="{B32DC9A9-D244-44B8-8673-287D2F09E841}"/>
    <dgm:cxn modelId="{75210B34-B56D-4EF2-BD16-F025FB36D5A3}" type="presOf" srcId="{2B12AE26-BF43-4837-AB56-76F29FBA896A}" destId="{8841A18C-4BD5-4430-8B43-058CF83F280B}" srcOrd="1" destOrd="0" presId="urn:microsoft.com/office/officeart/2008/layout/HorizontalMultiLevelHierarchy"/>
    <dgm:cxn modelId="{88CC153C-8DBA-4C0E-865E-44713BAE12FE}" type="presOf" srcId="{E9EF0847-D10B-4E0D-8D41-F718FFDD0680}" destId="{8E9A72C5-47A6-42BE-B726-0C7967DB05A8}" srcOrd="0" destOrd="0" presId="urn:microsoft.com/office/officeart/2008/layout/HorizontalMultiLevelHierarchy"/>
    <dgm:cxn modelId="{77C6AB3E-6ADC-43A0-9D8B-D167B858B09E}" type="presOf" srcId="{53C6CFDD-784E-4573-8554-A7718B705E91}" destId="{8DC6FFAA-97B3-4F4F-BF74-47C8B4811271}" srcOrd="1" destOrd="0" presId="urn:microsoft.com/office/officeart/2008/layout/HorizontalMultiLevelHierarchy"/>
    <dgm:cxn modelId="{CE3F745D-6C2D-4108-8E58-DAE65497052E}" type="presOf" srcId="{828B6FD8-1D34-4D20-A409-92B9CF83AC7F}" destId="{65475152-409D-4026-8B0D-98F455074FA1}" srcOrd="0" destOrd="0" presId="urn:microsoft.com/office/officeart/2008/layout/HorizontalMultiLevelHierarchy"/>
    <dgm:cxn modelId="{111AB75E-D39F-4443-BC29-B5F2D7DB63D1}" type="presOf" srcId="{53C6CFDD-784E-4573-8554-A7718B705E91}" destId="{67966FBE-D43C-4DBC-B249-3AA0A4D94A75}" srcOrd="0" destOrd="0" presId="urn:microsoft.com/office/officeart/2008/layout/HorizontalMultiLevelHierarchy"/>
    <dgm:cxn modelId="{B1D5B045-AAF2-4B6F-B1FD-034E2522A901}" type="presOf" srcId="{BC02D235-EE93-4956-AFAE-20830A525B18}" destId="{87DBE50F-6E07-481F-BA01-228B6AC9DFCF}" srcOrd="0" destOrd="0" presId="urn:microsoft.com/office/officeart/2008/layout/HorizontalMultiLevelHierarchy"/>
    <dgm:cxn modelId="{696FB692-8D6B-4C7F-BBC6-65B5600BD6CA}" srcId="{DDE5F6AA-2B79-46FA-A92E-A205D05A317C}" destId="{828B6FD8-1D34-4D20-A409-92B9CF83AC7F}" srcOrd="1" destOrd="0" parTransId="{53C6CFDD-784E-4573-8554-A7718B705E91}" sibTransId="{92926C22-07BE-4C02-9DD5-3C20D8E1177C}"/>
    <dgm:cxn modelId="{346645BD-3F16-4580-B03C-8788BFBC394A}" srcId="{DDE5F6AA-2B79-46FA-A92E-A205D05A317C}" destId="{E9EF0847-D10B-4E0D-8D41-F718FFDD0680}" srcOrd="0" destOrd="0" parTransId="{2B12AE26-BF43-4837-AB56-76F29FBA896A}" sibTransId="{10610453-4F6C-4945-938E-9B6E77ECBD06}"/>
    <dgm:cxn modelId="{7002C1C1-7CE0-4714-A2E2-BF2A08871091}" type="presOf" srcId="{9EA00884-CFB2-418D-AF97-08DBF6C9C369}" destId="{50B5BCDD-CB7D-4031-AB55-AE3172C42FD9}" srcOrd="1" destOrd="0" presId="urn:microsoft.com/office/officeart/2008/layout/HorizontalMultiLevelHierarchy"/>
    <dgm:cxn modelId="{281924F5-BB05-4646-898B-7A24C8C9D357}" type="presOf" srcId="{9EA00884-CFB2-418D-AF97-08DBF6C9C369}" destId="{55DF8898-1113-4EC8-89DF-A937CE222C69}" srcOrd="0" destOrd="0" presId="urn:microsoft.com/office/officeart/2008/layout/HorizontalMultiLevelHierarchy"/>
    <dgm:cxn modelId="{EB97FEBA-F46C-4050-93AC-B6DF8803494D}" type="presParOf" srcId="{056BD04C-9A73-4E60-8496-DEBB12D96A1C}" destId="{597710A7-FF0C-4574-A104-CE0E71E66741}" srcOrd="0" destOrd="0" presId="urn:microsoft.com/office/officeart/2008/layout/HorizontalMultiLevelHierarchy"/>
    <dgm:cxn modelId="{E1956603-5BF7-482B-ADCB-9AE89320EC49}" type="presParOf" srcId="{597710A7-FF0C-4574-A104-CE0E71E66741}" destId="{D7BB9731-E69E-4B64-829F-71E19EB96719}" srcOrd="0" destOrd="0" presId="urn:microsoft.com/office/officeart/2008/layout/HorizontalMultiLevelHierarchy"/>
    <dgm:cxn modelId="{61B43B80-7A51-4FE9-9905-BC6A9C0216E1}" type="presParOf" srcId="{597710A7-FF0C-4574-A104-CE0E71E66741}" destId="{1DB09FE6-EA0F-4F03-93A1-33020E43E3AB}" srcOrd="1" destOrd="0" presId="urn:microsoft.com/office/officeart/2008/layout/HorizontalMultiLevelHierarchy"/>
    <dgm:cxn modelId="{CA7DFB70-B8CD-4E95-8E34-69A527AB14DA}" type="presParOf" srcId="{1DB09FE6-EA0F-4F03-93A1-33020E43E3AB}" destId="{FF71BEC2-A36B-4E84-B6F7-3A85E2C15987}" srcOrd="0" destOrd="0" presId="urn:microsoft.com/office/officeart/2008/layout/HorizontalMultiLevelHierarchy"/>
    <dgm:cxn modelId="{2A424F91-EE05-41A3-991A-5B630B141C23}" type="presParOf" srcId="{FF71BEC2-A36B-4E84-B6F7-3A85E2C15987}" destId="{8841A18C-4BD5-4430-8B43-058CF83F280B}" srcOrd="0" destOrd="0" presId="urn:microsoft.com/office/officeart/2008/layout/HorizontalMultiLevelHierarchy"/>
    <dgm:cxn modelId="{43DCA196-767D-4B22-93EE-3B1CAC1308D0}" type="presParOf" srcId="{1DB09FE6-EA0F-4F03-93A1-33020E43E3AB}" destId="{C80DAD6A-B183-4D63-9DC1-827FEB611BCB}" srcOrd="1" destOrd="0" presId="urn:microsoft.com/office/officeart/2008/layout/HorizontalMultiLevelHierarchy"/>
    <dgm:cxn modelId="{0B6A6A36-AF4E-4811-A085-D77BD8A21EA8}" type="presParOf" srcId="{C80DAD6A-B183-4D63-9DC1-827FEB611BCB}" destId="{8E9A72C5-47A6-42BE-B726-0C7967DB05A8}" srcOrd="0" destOrd="0" presId="urn:microsoft.com/office/officeart/2008/layout/HorizontalMultiLevelHierarchy"/>
    <dgm:cxn modelId="{C334555A-BE81-4C9E-971C-A0A63A9BCA65}" type="presParOf" srcId="{C80DAD6A-B183-4D63-9DC1-827FEB611BCB}" destId="{FDC8BD0A-79C1-4537-9FB0-A217EB5E0E89}" srcOrd="1" destOrd="0" presId="urn:microsoft.com/office/officeart/2008/layout/HorizontalMultiLevelHierarchy"/>
    <dgm:cxn modelId="{F088F7C6-9807-45E1-A933-4CE2471055E3}" type="presParOf" srcId="{1DB09FE6-EA0F-4F03-93A1-33020E43E3AB}" destId="{67966FBE-D43C-4DBC-B249-3AA0A4D94A75}" srcOrd="2" destOrd="0" presId="urn:microsoft.com/office/officeart/2008/layout/HorizontalMultiLevelHierarchy"/>
    <dgm:cxn modelId="{6A42FE4B-3591-4195-9824-2D672BEF6924}" type="presParOf" srcId="{67966FBE-D43C-4DBC-B249-3AA0A4D94A75}" destId="{8DC6FFAA-97B3-4F4F-BF74-47C8B4811271}" srcOrd="0" destOrd="0" presId="urn:microsoft.com/office/officeart/2008/layout/HorizontalMultiLevelHierarchy"/>
    <dgm:cxn modelId="{8516D12F-2099-47D6-9C22-97FCF4F360E6}" type="presParOf" srcId="{1DB09FE6-EA0F-4F03-93A1-33020E43E3AB}" destId="{F22AF8E3-2C95-43CA-9F23-A64D9C3B1F6B}" srcOrd="3" destOrd="0" presId="urn:microsoft.com/office/officeart/2008/layout/HorizontalMultiLevelHierarchy"/>
    <dgm:cxn modelId="{BC059A71-1F31-4DF1-B86D-5D1405510D72}" type="presParOf" srcId="{F22AF8E3-2C95-43CA-9F23-A64D9C3B1F6B}" destId="{65475152-409D-4026-8B0D-98F455074FA1}" srcOrd="0" destOrd="0" presId="urn:microsoft.com/office/officeart/2008/layout/HorizontalMultiLevelHierarchy"/>
    <dgm:cxn modelId="{1CE90C95-5BA2-44F3-9413-8C58B469AD11}" type="presParOf" srcId="{F22AF8E3-2C95-43CA-9F23-A64D9C3B1F6B}" destId="{B9F80FCC-FA96-4715-9DCA-70F180AAD47A}" srcOrd="1" destOrd="0" presId="urn:microsoft.com/office/officeart/2008/layout/HorizontalMultiLevelHierarchy"/>
    <dgm:cxn modelId="{69E3D792-D78F-456C-B6CA-5A59E211F446}" type="presParOf" srcId="{1DB09FE6-EA0F-4F03-93A1-33020E43E3AB}" destId="{55DF8898-1113-4EC8-89DF-A937CE222C69}" srcOrd="4" destOrd="0" presId="urn:microsoft.com/office/officeart/2008/layout/HorizontalMultiLevelHierarchy"/>
    <dgm:cxn modelId="{C251D804-241B-4A32-AAF9-E27E960D75D6}" type="presParOf" srcId="{55DF8898-1113-4EC8-89DF-A937CE222C69}" destId="{50B5BCDD-CB7D-4031-AB55-AE3172C42FD9}" srcOrd="0" destOrd="0" presId="urn:microsoft.com/office/officeart/2008/layout/HorizontalMultiLevelHierarchy"/>
    <dgm:cxn modelId="{2B2C883F-506E-43C9-897D-7F60A74960AC}" type="presParOf" srcId="{1DB09FE6-EA0F-4F03-93A1-33020E43E3AB}" destId="{6EB1C52A-C6E3-4473-9371-8B447ED7449A}" srcOrd="5" destOrd="0" presId="urn:microsoft.com/office/officeart/2008/layout/HorizontalMultiLevelHierarchy"/>
    <dgm:cxn modelId="{7AC57408-711A-402E-9C37-DEB5FCE6C57F}" type="presParOf" srcId="{6EB1C52A-C6E3-4473-9371-8B447ED7449A}" destId="{87DBE50F-6E07-481F-BA01-228B6AC9DFCF}" srcOrd="0" destOrd="0" presId="urn:microsoft.com/office/officeart/2008/layout/HorizontalMultiLevelHierarchy"/>
    <dgm:cxn modelId="{DBE5432B-AD4D-4988-BCD5-743549C94EC5}" type="presParOf" srcId="{6EB1C52A-C6E3-4473-9371-8B447ED7449A}" destId="{48A1F5FA-4BC1-43B6-9478-8E73A4CADE33}" srcOrd="1" destOrd="0" presId="urn:microsoft.com/office/officeart/2008/layout/HorizontalMultiLevelHierarchy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E4F7FC25-1B7F-409B-8CDB-AB80035AB426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ZA"/>
        </a:p>
      </dgm:t>
    </dgm:pt>
    <dgm:pt modelId="{EB6F8CBA-A29F-43D4-82F0-03B87713507D}">
      <dgm:prSet phldrT="[Text]"/>
      <dgm:spPr/>
      <dgm:t>
        <a:bodyPr/>
        <a:lstStyle/>
        <a:p>
          <a:r>
            <a:rPr lang="en-ZA" dirty="0"/>
            <a:t>Impact: </a:t>
          </a:r>
        </a:p>
      </dgm:t>
    </dgm:pt>
    <dgm:pt modelId="{46587606-BE85-4879-980C-E311B005708F}" type="parTrans" cxnId="{830DAA77-536E-40F8-9905-2573DD09F600}">
      <dgm:prSet/>
      <dgm:spPr/>
      <dgm:t>
        <a:bodyPr/>
        <a:lstStyle/>
        <a:p>
          <a:endParaRPr lang="en-ZA"/>
        </a:p>
      </dgm:t>
    </dgm:pt>
    <dgm:pt modelId="{20B777CD-0AE9-44DF-BBCF-960FAB4144E8}" type="sibTrans" cxnId="{830DAA77-536E-40F8-9905-2573DD09F600}">
      <dgm:prSet/>
      <dgm:spPr/>
      <dgm:t>
        <a:bodyPr/>
        <a:lstStyle/>
        <a:p>
          <a:endParaRPr lang="en-ZA"/>
        </a:p>
      </dgm:t>
    </dgm:pt>
    <dgm:pt modelId="{35E16B8E-CCE1-4695-8F2E-A526A427A356}">
      <dgm:prSet phldrT="[Text]" custT="1"/>
      <dgm:spPr/>
      <dgm:t>
        <a:bodyPr/>
        <a:lstStyle/>
        <a:p>
          <a:pPr algn="ctr"/>
          <a:r>
            <a:rPr lang="en-ZA" sz="20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Integrated support and solution for efficient  and economic service delivery</a:t>
          </a:r>
          <a:endParaRPr lang="en-ZA" sz="2000" dirty="0"/>
        </a:p>
      </dgm:t>
    </dgm:pt>
    <dgm:pt modelId="{43F7794A-95C8-43D7-A2AC-2DD7E3072162}" type="parTrans" cxnId="{B3A579EB-CB65-4934-B360-A56676282321}">
      <dgm:prSet/>
      <dgm:spPr/>
      <dgm:t>
        <a:bodyPr/>
        <a:lstStyle/>
        <a:p>
          <a:endParaRPr lang="en-ZA"/>
        </a:p>
      </dgm:t>
    </dgm:pt>
    <dgm:pt modelId="{6E5F8C0E-6D37-428E-A854-26612E21F81D}" type="sibTrans" cxnId="{B3A579EB-CB65-4934-B360-A56676282321}">
      <dgm:prSet/>
      <dgm:spPr/>
      <dgm:t>
        <a:bodyPr/>
        <a:lstStyle/>
        <a:p>
          <a:endParaRPr lang="en-ZA"/>
        </a:p>
      </dgm:t>
    </dgm:pt>
    <dgm:pt modelId="{19696909-8C48-46BB-BC66-CAD5D98AD709}">
      <dgm:prSet phldrT="[Text]"/>
      <dgm:spPr/>
      <dgm:t>
        <a:bodyPr/>
        <a:lstStyle/>
        <a:p>
          <a:r>
            <a:rPr lang="en-ZA" dirty="0"/>
            <a:t>Outcome:</a:t>
          </a:r>
        </a:p>
      </dgm:t>
    </dgm:pt>
    <dgm:pt modelId="{03B51307-9445-4544-9771-772629675289}" type="parTrans" cxnId="{08E91F31-5CF3-4EEE-8C47-932A0DAADBC6}">
      <dgm:prSet/>
      <dgm:spPr/>
      <dgm:t>
        <a:bodyPr/>
        <a:lstStyle/>
        <a:p>
          <a:endParaRPr lang="en-ZA"/>
        </a:p>
      </dgm:t>
    </dgm:pt>
    <dgm:pt modelId="{16A7768E-8FFC-4FBE-9730-B00AEF21F663}" type="sibTrans" cxnId="{08E91F31-5CF3-4EEE-8C47-932A0DAADBC6}">
      <dgm:prSet/>
      <dgm:spPr/>
      <dgm:t>
        <a:bodyPr/>
        <a:lstStyle/>
        <a:p>
          <a:endParaRPr lang="en-ZA"/>
        </a:p>
      </dgm:t>
    </dgm:pt>
    <dgm:pt modelId="{3672533D-8F35-4A31-9BF1-7879BDF5BDBE}">
      <dgm:prSet phldrT="[Text]" custT="1"/>
      <dgm:spPr/>
      <dgm:t>
        <a:bodyPr/>
        <a:lstStyle/>
        <a:p>
          <a:r>
            <a:rPr lang="en-ZA" sz="20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Build capacity to ensure value driven Correctional Services</a:t>
          </a:r>
          <a:endParaRPr lang="en-ZA" sz="2000" dirty="0"/>
        </a:p>
      </dgm:t>
    </dgm:pt>
    <dgm:pt modelId="{3895EC86-D6A3-43CD-A7C4-6BD72386C11D}" type="parTrans" cxnId="{E42BCF80-003F-4418-B46A-6ACF6604D2CB}">
      <dgm:prSet/>
      <dgm:spPr/>
      <dgm:t>
        <a:bodyPr/>
        <a:lstStyle/>
        <a:p>
          <a:endParaRPr lang="en-ZA"/>
        </a:p>
      </dgm:t>
    </dgm:pt>
    <dgm:pt modelId="{AFCA6754-B92A-439F-86E3-B2D211B0C3DF}" type="sibTrans" cxnId="{E42BCF80-003F-4418-B46A-6ACF6604D2CB}">
      <dgm:prSet/>
      <dgm:spPr/>
      <dgm:t>
        <a:bodyPr/>
        <a:lstStyle/>
        <a:p>
          <a:endParaRPr lang="en-ZA"/>
        </a:p>
      </dgm:t>
    </dgm:pt>
    <dgm:pt modelId="{1C9B6F4F-F71B-47E5-A3F4-6A133EDDA7BF}">
      <dgm:prSet phldrT="[Text]"/>
      <dgm:spPr/>
      <dgm:t>
        <a:bodyPr/>
        <a:lstStyle/>
        <a:p>
          <a:r>
            <a:rPr lang="en-ZA" dirty="0"/>
            <a:t>Strategic intent:</a:t>
          </a:r>
        </a:p>
      </dgm:t>
    </dgm:pt>
    <dgm:pt modelId="{A7B34D18-627D-4CC8-8188-C16385F270E3}" type="parTrans" cxnId="{653111CC-CEBE-429E-8ACD-32E0EEF6BC48}">
      <dgm:prSet/>
      <dgm:spPr/>
      <dgm:t>
        <a:bodyPr/>
        <a:lstStyle/>
        <a:p>
          <a:endParaRPr lang="en-ZA"/>
        </a:p>
      </dgm:t>
    </dgm:pt>
    <dgm:pt modelId="{7A8BE1AD-444B-452B-A70D-57AFCE99E04E}" type="sibTrans" cxnId="{653111CC-CEBE-429E-8ACD-32E0EEF6BC48}">
      <dgm:prSet/>
      <dgm:spPr/>
      <dgm:t>
        <a:bodyPr/>
        <a:lstStyle/>
        <a:p>
          <a:endParaRPr lang="en-ZA"/>
        </a:p>
      </dgm:t>
    </dgm:pt>
    <dgm:pt modelId="{A550DE6B-60E9-42A4-BA24-09B99E04212B}">
      <dgm:prSet phldrT="[Text]"/>
      <dgm:spPr/>
      <dgm:t>
        <a:bodyPr/>
        <a:lstStyle/>
        <a:p>
          <a:r>
            <a:rPr lang="en-ZA" b="1" dirty="0"/>
            <a:t>Sound  financial management practices and ethical public administration </a:t>
          </a:r>
          <a:endParaRPr lang="en-ZA" dirty="0"/>
        </a:p>
      </dgm:t>
    </dgm:pt>
    <dgm:pt modelId="{F4CB9502-2D6C-47DA-A50D-94C4C749FB63}" type="parTrans" cxnId="{532B4E34-E822-43E5-A218-C81D039BC82B}">
      <dgm:prSet/>
      <dgm:spPr/>
      <dgm:t>
        <a:bodyPr/>
        <a:lstStyle/>
        <a:p>
          <a:endParaRPr lang="en-ZA"/>
        </a:p>
      </dgm:t>
    </dgm:pt>
    <dgm:pt modelId="{E57F40EC-C532-4728-B92E-A9224576F231}" type="sibTrans" cxnId="{532B4E34-E822-43E5-A218-C81D039BC82B}">
      <dgm:prSet/>
      <dgm:spPr/>
      <dgm:t>
        <a:bodyPr/>
        <a:lstStyle/>
        <a:p>
          <a:endParaRPr lang="en-ZA"/>
        </a:p>
      </dgm:t>
    </dgm:pt>
    <dgm:pt modelId="{BAD5FAA4-94A7-43CD-A735-B5C2D83937F6}">
      <dgm:prSet/>
      <dgm:spPr/>
      <dgm:t>
        <a:bodyPr/>
        <a:lstStyle/>
        <a:p>
          <a:pPr algn="l"/>
          <a:endParaRPr lang="en-ZA" sz="1100" dirty="0"/>
        </a:p>
      </dgm:t>
    </dgm:pt>
    <dgm:pt modelId="{890AC574-3A8B-4DB7-A9B9-3961565CB2B3}" type="parTrans" cxnId="{A1D63A69-51C9-4145-AAAE-0C785AA55BD1}">
      <dgm:prSet/>
      <dgm:spPr/>
      <dgm:t>
        <a:bodyPr/>
        <a:lstStyle/>
        <a:p>
          <a:endParaRPr lang="en-ZA"/>
        </a:p>
      </dgm:t>
    </dgm:pt>
    <dgm:pt modelId="{0BECE5CD-63A2-48B1-8B89-39D3C9C3BC75}" type="sibTrans" cxnId="{A1D63A69-51C9-4145-AAAE-0C785AA55BD1}">
      <dgm:prSet/>
      <dgm:spPr/>
      <dgm:t>
        <a:bodyPr/>
        <a:lstStyle/>
        <a:p>
          <a:endParaRPr lang="en-ZA"/>
        </a:p>
      </dgm:t>
    </dgm:pt>
    <dgm:pt modelId="{BC7B1659-D774-458A-9AD5-FDBA0EB81088}">
      <dgm:prSet/>
      <dgm:spPr/>
      <dgm:t>
        <a:bodyPr/>
        <a:lstStyle/>
        <a:p>
          <a:endParaRPr lang="en-ZA" sz="1100" dirty="0"/>
        </a:p>
      </dgm:t>
    </dgm:pt>
    <dgm:pt modelId="{2BDDA411-B270-4B2A-92DF-38174B25F00D}" type="parTrans" cxnId="{38CC1CD6-D8D9-46BC-A967-B18EF681256D}">
      <dgm:prSet/>
      <dgm:spPr/>
      <dgm:t>
        <a:bodyPr/>
        <a:lstStyle/>
        <a:p>
          <a:endParaRPr lang="en-ZA"/>
        </a:p>
      </dgm:t>
    </dgm:pt>
    <dgm:pt modelId="{11EAC833-E84E-4845-AB88-2782780D0775}" type="sibTrans" cxnId="{38CC1CD6-D8D9-46BC-A967-B18EF681256D}">
      <dgm:prSet/>
      <dgm:spPr/>
      <dgm:t>
        <a:bodyPr/>
        <a:lstStyle/>
        <a:p>
          <a:endParaRPr lang="en-ZA"/>
        </a:p>
      </dgm:t>
    </dgm:pt>
    <dgm:pt modelId="{BB0CFDC6-7C1E-4A60-83D0-4AADFCEDC3F7}">
      <dgm:prSet/>
      <dgm:spPr/>
      <dgm:t>
        <a:bodyPr/>
        <a:lstStyle/>
        <a:p>
          <a:endParaRPr lang="en-ZA" dirty="0"/>
        </a:p>
      </dgm:t>
    </dgm:pt>
    <dgm:pt modelId="{026E3992-AEDF-46D4-9304-087479A2BD1D}" type="parTrans" cxnId="{1FA7B6E0-2319-46BB-9EEA-D921946398AD}">
      <dgm:prSet/>
      <dgm:spPr/>
      <dgm:t>
        <a:bodyPr/>
        <a:lstStyle/>
        <a:p>
          <a:endParaRPr lang="en-ZA"/>
        </a:p>
      </dgm:t>
    </dgm:pt>
    <dgm:pt modelId="{FB15348B-A8CB-4C3F-9DFE-7CB4961695B1}" type="sibTrans" cxnId="{1FA7B6E0-2319-46BB-9EEA-D921946398AD}">
      <dgm:prSet/>
      <dgm:spPr/>
      <dgm:t>
        <a:bodyPr/>
        <a:lstStyle/>
        <a:p>
          <a:endParaRPr lang="en-ZA"/>
        </a:p>
      </dgm:t>
    </dgm:pt>
    <dgm:pt modelId="{C09D3121-F0B0-4869-A0B8-2142838D6A62}">
      <dgm:prSet/>
      <dgm:spPr/>
      <dgm:t>
        <a:bodyPr/>
        <a:lstStyle/>
        <a:p>
          <a:r>
            <a:rPr lang="en-ZA" b="1"/>
            <a:t>Optimal  utilisation of resources supported by economical procurement practices </a:t>
          </a:r>
          <a:endParaRPr lang="en-ZA" b="1" dirty="0"/>
        </a:p>
      </dgm:t>
    </dgm:pt>
    <dgm:pt modelId="{028500E2-A420-4BA9-9827-E6B917AD9E2E}" type="parTrans" cxnId="{012964C6-283F-4808-A7B7-41426972B9A9}">
      <dgm:prSet/>
      <dgm:spPr/>
      <dgm:t>
        <a:bodyPr/>
        <a:lstStyle/>
        <a:p>
          <a:endParaRPr lang="en-ZA"/>
        </a:p>
      </dgm:t>
    </dgm:pt>
    <dgm:pt modelId="{96F86709-B5DA-496A-9B77-570CB0DA6EFF}" type="sibTrans" cxnId="{012964C6-283F-4808-A7B7-41426972B9A9}">
      <dgm:prSet/>
      <dgm:spPr/>
      <dgm:t>
        <a:bodyPr/>
        <a:lstStyle/>
        <a:p>
          <a:endParaRPr lang="en-ZA"/>
        </a:p>
      </dgm:t>
    </dgm:pt>
    <dgm:pt modelId="{4D02450E-3146-4D92-A72D-6181E2DAB5B2}">
      <dgm:prSet/>
      <dgm:spPr/>
      <dgm:t>
        <a:bodyPr/>
        <a:lstStyle/>
        <a:p>
          <a:endParaRPr lang="en-ZA" b="1" dirty="0"/>
        </a:p>
      </dgm:t>
    </dgm:pt>
    <dgm:pt modelId="{C29F9A16-DBD8-460B-A5B3-2F33B4DA1382}" type="parTrans" cxnId="{9131A916-EF49-4522-8458-6F410E385B4D}">
      <dgm:prSet/>
      <dgm:spPr/>
      <dgm:t>
        <a:bodyPr/>
        <a:lstStyle/>
        <a:p>
          <a:endParaRPr lang="en-ZA"/>
        </a:p>
      </dgm:t>
    </dgm:pt>
    <dgm:pt modelId="{D1421C56-9C98-4A03-8E53-CBE0CE2655D2}" type="sibTrans" cxnId="{9131A916-EF49-4522-8458-6F410E385B4D}">
      <dgm:prSet/>
      <dgm:spPr/>
      <dgm:t>
        <a:bodyPr/>
        <a:lstStyle/>
        <a:p>
          <a:endParaRPr lang="en-ZA"/>
        </a:p>
      </dgm:t>
    </dgm:pt>
    <dgm:pt modelId="{ABD63E0A-BF9A-460C-B235-FA13EFFDCA04}">
      <dgm:prSet/>
      <dgm:spPr/>
      <dgm:t>
        <a:bodyPr/>
        <a:lstStyle/>
        <a:p>
          <a:r>
            <a:rPr lang="en-ZA" b="1"/>
            <a:t>Re-engineering supply chain management and business processes.</a:t>
          </a:r>
          <a:endParaRPr lang="en-ZA" b="1" dirty="0"/>
        </a:p>
      </dgm:t>
    </dgm:pt>
    <dgm:pt modelId="{65D8D3C1-A02C-43A7-9D51-AA5B4E057F75}" type="parTrans" cxnId="{8D173241-1551-4D25-9863-B2BA034F4BA4}">
      <dgm:prSet/>
      <dgm:spPr/>
      <dgm:t>
        <a:bodyPr/>
        <a:lstStyle/>
        <a:p>
          <a:endParaRPr lang="en-ZA"/>
        </a:p>
      </dgm:t>
    </dgm:pt>
    <dgm:pt modelId="{F3C64848-15EE-4772-87C9-DE973582AA22}" type="sibTrans" cxnId="{8D173241-1551-4D25-9863-B2BA034F4BA4}">
      <dgm:prSet/>
      <dgm:spPr/>
      <dgm:t>
        <a:bodyPr/>
        <a:lstStyle/>
        <a:p>
          <a:endParaRPr lang="en-ZA"/>
        </a:p>
      </dgm:t>
    </dgm:pt>
    <dgm:pt modelId="{CEC56252-0B01-4770-9BC2-4ACE3F50B6CE}">
      <dgm:prSet/>
      <dgm:spPr/>
      <dgm:t>
        <a:bodyPr/>
        <a:lstStyle/>
        <a:p>
          <a:endParaRPr lang="en-ZA" b="1" dirty="0"/>
        </a:p>
      </dgm:t>
    </dgm:pt>
    <dgm:pt modelId="{BAEB4B94-DE31-428A-83FC-B77DE8268BBA}" type="parTrans" cxnId="{732AAAB6-D783-4A0A-81C8-CD705B310190}">
      <dgm:prSet/>
      <dgm:spPr/>
      <dgm:t>
        <a:bodyPr/>
        <a:lstStyle/>
        <a:p>
          <a:endParaRPr lang="en-ZA"/>
        </a:p>
      </dgm:t>
    </dgm:pt>
    <dgm:pt modelId="{F9F19D30-50A6-41E8-B11B-4CA689576480}" type="sibTrans" cxnId="{732AAAB6-D783-4A0A-81C8-CD705B310190}">
      <dgm:prSet/>
      <dgm:spPr/>
      <dgm:t>
        <a:bodyPr/>
        <a:lstStyle/>
        <a:p>
          <a:endParaRPr lang="en-ZA"/>
        </a:p>
      </dgm:t>
    </dgm:pt>
    <dgm:pt modelId="{82433739-4DC7-4D57-B689-118CA41422CC}">
      <dgm:prSet/>
      <dgm:spPr/>
      <dgm:t>
        <a:bodyPr/>
        <a:lstStyle/>
        <a:p>
          <a:r>
            <a:rPr lang="en-ZA" b="1" dirty="0"/>
            <a:t>Achieve acceptable maturity levels for internal controls and risk </a:t>
          </a:r>
          <a:endParaRPr lang="en-ZA" dirty="0"/>
        </a:p>
      </dgm:t>
    </dgm:pt>
    <dgm:pt modelId="{8BD102EA-0DC7-47E6-97B5-2E877BA66502}" type="parTrans" cxnId="{88AF773C-49EC-47F1-84F3-07A188F0B9CF}">
      <dgm:prSet/>
      <dgm:spPr/>
      <dgm:t>
        <a:bodyPr/>
        <a:lstStyle/>
        <a:p>
          <a:endParaRPr lang="en-ZA"/>
        </a:p>
      </dgm:t>
    </dgm:pt>
    <dgm:pt modelId="{3D5AB30B-CDA9-4DC6-ACC2-FF01B2B16E2C}" type="sibTrans" cxnId="{88AF773C-49EC-47F1-84F3-07A188F0B9CF}">
      <dgm:prSet/>
      <dgm:spPr/>
      <dgm:t>
        <a:bodyPr/>
        <a:lstStyle/>
        <a:p>
          <a:endParaRPr lang="en-ZA"/>
        </a:p>
      </dgm:t>
    </dgm:pt>
    <dgm:pt modelId="{0322A22A-B91F-42EC-AA50-5A3C2B1C1D58}" type="pres">
      <dgm:prSet presAssocID="{E4F7FC25-1B7F-409B-8CDB-AB80035AB426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5554142E-C32B-4E5F-9FFA-9D5E68938780}" type="pres">
      <dgm:prSet presAssocID="{EB6F8CBA-A29F-43D4-82F0-03B87713507D}" presName="parentText1" presStyleLbl="node1" presStyleIdx="0" presStyleCnt="3">
        <dgm:presLayoutVars>
          <dgm:chMax/>
          <dgm:chPref val="3"/>
          <dgm:bulletEnabled val="1"/>
        </dgm:presLayoutVars>
      </dgm:prSet>
      <dgm:spPr/>
    </dgm:pt>
    <dgm:pt modelId="{856E43E6-3D70-4376-AA4E-32C2946973DE}" type="pres">
      <dgm:prSet presAssocID="{EB6F8CBA-A29F-43D4-82F0-03B87713507D}" presName="childText1" presStyleLbl="solidAlignAcc1" presStyleIdx="0" presStyleCnt="3">
        <dgm:presLayoutVars>
          <dgm:chMax val="0"/>
          <dgm:chPref val="0"/>
          <dgm:bulletEnabled val="1"/>
        </dgm:presLayoutVars>
      </dgm:prSet>
      <dgm:spPr/>
    </dgm:pt>
    <dgm:pt modelId="{C30C58A0-B04E-452B-9322-CA41E936892C}" type="pres">
      <dgm:prSet presAssocID="{19696909-8C48-46BB-BC66-CAD5D98AD709}" presName="parentText2" presStyleLbl="node1" presStyleIdx="1" presStyleCnt="3">
        <dgm:presLayoutVars>
          <dgm:chMax/>
          <dgm:chPref val="3"/>
          <dgm:bulletEnabled val="1"/>
        </dgm:presLayoutVars>
      </dgm:prSet>
      <dgm:spPr/>
    </dgm:pt>
    <dgm:pt modelId="{3B15316A-54DA-4456-ADE2-E7F050C432BD}" type="pres">
      <dgm:prSet presAssocID="{19696909-8C48-46BB-BC66-CAD5D98AD709}" presName="childText2" presStyleLbl="solidAlignAcc1" presStyleIdx="1" presStyleCnt="3">
        <dgm:presLayoutVars>
          <dgm:chMax val="0"/>
          <dgm:chPref val="0"/>
          <dgm:bulletEnabled val="1"/>
        </dgm:presLayoutVars>
      </dgm:prSet>
      <dgm:spPr/>
    </dgm:pt>
    <dgm:pt modelId="{CCAB3F69-164F-45F2-B5B9-A78867DCEE16}" type="pres">
      <dgm:prSet presAssocID="{1C9B6F4F-F71B-47E5-A3F4-6A133EDDA7BF}" presName="parentText3" presStyleLbl="node1" presStyleIdx="2" presStyleCnt="3">
        <dgm:presLayoutVars>
          <dgm:chMax/>
          <dgm:chPref val="3"/>
          <dgm:bulletEnabled val="1"/>
        </dgm:presLayoutVars>
      </dgm:prSet>
      <dgm:spPr/>
    </dgm:pt>
    <dgm:pt modelId="{2E2CEF3C-DAE3-4606-B5A5-BCCA1CBCB380}" type="pres">
      <dgm:prSet presAssocID="{1C9B6F4F-F71B-47E5-A3F4-6A133EDDA7BF}" presName="childText3" presStyleLbl="solidAlignAcc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3D224700-CA74-49AE-AAE7-ABBBADD9E68D}" type="presOf" srcId="{4D02450E-3146-4D92-A72D-6181E2DAB5B2}" destId="{2E2CEF3C-DAE3-4606-B5A5-BCCA1CBCB380}" srcOrd="0" destOrd="3" presId="urn:microsoft.com/office/officeart/2009/3/layout/IncreasingArrowsProcess"/>
    <dgm:cxn modelId="{00723701-B71E-4F1B-8D57-2734032414FB}" type="presOf" srcId="{35E16B8E-CCE1-4695-8F2E-A526A427A356}" destId="{856E43E6-3D70-4376-AA4E-32C2946973DE}" srcOrd="0" destOrd="0" presId="urn:microsoft.com/office/officeart/2009/3/layout/IncreasingArrowsProcess"/>
    <dgm:cxn modelId="{9131A916-EF49-4522-8458-6F410E385B4D}" srcId="{1C9B6F4F-F71B-47E5-A3F4-6A133EDDA7BF}" destId="{4D02450E-3146-4D92-A72D-6181E2DAB5B2}" srcOrd="3" destOrd="0" parTransId="{C29F9A16-DBD8-460B-A5B3-2F33B4DA1382}" sibTransId="{D1421C56-9C98-4A03-8E53-CBE0CE2655D2}"/>
    <dgm:cxn modelId="{9CD8531E-8C65-40DF-A12C-F94D24E7AF53}" type="presOf" srcId="{CEC56252-0B01-4770-9BC2-4ACE3F50B6CE}" destId="{2E2CEF3C-DAE3-4606-B5A5-BCCA1CBCB380}" srcOrd="0" destOrd="5" presId="urn:microsoft.com/office/officeart/2009/3/layout/IncreasingArrowsProcess"/>
    <dgm:cxn modelId="{08E91F31-5CF3-4EEE-8C47-932A0DAADBC6}" srcId="{E4F7FC25-1B7F-409B-8CDB-AB80035AB426}" destId="{19696909-8C48-46BB-BC66-CAD5D98AD709}" srcOrd="1" destOrd="0" parTransId="{03B51307-9445-4544-9771-772629675289}" sibTransId="{16A7768E-8FFC-4FBE-9730-B00AEF21F663}"/>
    <dgm:cxn modelId="{532B4E34-E822-43E5-A218-C81D039BC82B}" srcId="{1C9B6F4F-F71B-47E5-A3F4-6A133EDDA7BF}" destId="{A550DE6B-60E9-42A4-BA24-09B99E04212B}" srcOrd="0" destOrd="0" parTransId="{F4CB9502-2D6C-47DA-A50D-94C4C749FB63}" sibTransId="{E57F40EC-C532-4728-B92E-A9224576F231}"/>
    <dgm:cxn modelId="{88AF773C-49EC-47F1-84F3-07A188F0B9CF}" srcId="{1C9B6F4F-F71B-47E5-A3F4-6A133EDDA7BF}" destId="{82433739-4DC7-4D57-B689-118CA41422CC}" srcOrd="6" destOrd="0" parTransId="{8BD102EA-0DC7-47E6-97B5-2E877BA66502}" sibTransId="{3D5AB30B-CDA9-4DC6-ACC2-FF01B2B16E2C}"/>
    <dgm:cxn modelId="{8D173241-1551-4D25-9863-B2BA034F4BA4}" srcId="{1C9B6F4F-F71B-47E5-A3F4-6A133EDDA7BF}" destId="{ABD63E0A-BF9A-460C-B235-FA13EFFDCA04}" srcOrd="4" destOrd="0" parTransId="{65D8D3C1-A02C-43A7-9D51-AA5B4E057F75}" sibTransId="{F3C64848-15EE-4772-87C9-DE973582AA22}"/>
    <dgm:cxn modelId="{4775F244-6C8E-4F85-B306-C575BAA89586}" type="presOf" srcId="{19696909-8C48-46BB-BC66-CAD5D98AD709}" destId="{C30C58A0-B04E-452B-9322-CA41E936892C}" srcOrd="0" destOrd="0" presId="urn:microsoft.com/office/officeart/2009/3/layout/IncreasingArrowsProcess"/>
    <dgm:cxn modelId="{A1D63A69-51C9-4145-AAAE-0C785AA55BD1}" srcId="{EB6F8CBA-A29F-43D4-82F0-03B87713507D}" destId="{BAD5FAA4-94A7-43CD-A735-B5C2D83937F6}" srcOrd="1" destOrd="0" parTransId="{890AC574-3A8B-4DB7-A9B9-3961565CB2B3}" sibTransId="{0BECE5CD-63A2-48B1-8B89-39D3C9C3BC75}"/>
    <dgm:cxn modelId="{F99BAE50-73B4-405A-B574-4EB15954A5BC}" type="presOf" srcId="{BC7B1659-D774-458A-9AD5-FDBA0EB81088}" destId="{3B15316A-54DA-4456-ADE2-E7F050C432BD}" srcOrd="0" destOrd="1" presId="urn:microsoft.com/office/officeart/2009/3/layout/IncreasingArrowsProcess"/>
    <dgm:cxn modelId="{EE751676-9EF2-4610-A9C8-2299FBADBB88}" type="presOf" srcId="{1C9B6F4F-F71B-47E5-A3F4-6A133EDDA7BF}" destId="{CCAB3F69-164F-45F2-B5B9-A78867DCEE16}" srcOrd="0" destOrd="0" presId="urn:microsoft.com/office/officeart/2009/3/layout/IncreasingArrowsProcess"/>
    <dgm:cxn modelId="{830DAA77-536E-40F8-9905-2573DD09F600}" srcId="{E4F7FC25-1B7F-409B-8CDB-AB80035AB426}" destId="{EB6F8CBA-A29F-43D4-82F0-03B87713507D}" srcOrd="0" destOrd="0" parTransId="{46587606-BE85-4879-980C-E311B005708F}" sibTransId="{20B777CD-0AE9-44DF-BBCF-960FAB4144E8}"/>
    <dgm:cxn modelId="{9B78267F-5E36-4EC8-8EB9-6F194F5BC050}" type="presOf" srcId="{E4F7FC25-1B7F-409B-8CDB-AB80035AB426}" destId="{0322A22A-B91F-42EC-AA50-5A3C2B1C1D58}" srcOrd="0" destOrd="0" presId="urn:microsoft.com/office/officeart/2009/3/layout/IncreasingArrowsProcess"/>
    <dgm:cxn modelId="{E42BCF80-003F-4418-B46A-6ACF6604D2CB}" srcId="{19696909-8C48-46BB-BC66-CAD5D98AD709}" destId="{3672533D-8F35-4A31-9BF1-7879BDF5BDBE}" srcOrd="0" destOrd="0" parTransId="{3895EC86-D6A3-43CD-A7C4-6BD72386C11D}" sibTransId="{AFCA6754-B92A-439F-86E3-B2D211B0C3DF}"/>
    <dgm:cxn modelId="{5B356F8B-A47D-4E74-A7A6-8852131679A0}" type="presOf" srcId="{BAD5FAA4-94A7-43CD-A735-B5C2D83937F6}" destId="{856E43E6-3D70-4376-AA4E-32C2946973DE}" srcOrd="0" destOrd="1" presId="urn:microsoft.com/office/officeart/2009/3/layout/IncreasingArrowsProcess"/>
    <dgm:cxn modelId="{04A4D78F-42E6-4101-886C-80AE164DE164}" type="presOf" srcId="{BB0CFDC6-7C1E-4A60-83D0-4AADFCEDC3F7}" destId="{2E2CEF3C-DAE3-4606-B5A5-BCCA1CBCB380}" srcOrd="0" destOrd="1" presId="urn:microsoft.com/office/officeart/2009/3/layout/IncreasingArrowsProcess"/>
    <dgm:cxn modelId="{02D4A793-2078-4EBD-B850-5F47E0143D4F}" type="presOf" srcId="{C09D3121-F0B0-4869-A0B8-2142838D6A62}" destId="{2E2CEF3C-DAE3-4606-B5A5-BCCA1CBCB380}" srcOrd="0" destOrd="2" presId="urn:microsoft.com/office/officeart/2009/3/layout/IncreasingArrowsProcess"/>
    <dgm:cxn modelId="{69C02E9C-EB60-4091-A067-C913044B9E52}" type="presOf" srcId="{A550DE6B-60E9-42A4-BA24-09B99E04212B}" destId="{2E2CEF3C-DAE3-4606-B5A5-BCCA1CBCB380}" srcOrd="0" destOrd="0" presId="urn:microsoft.com/office/officeart/2009/3/layout/IncreasingArrowsProcess"/>
    <dgm:cxn modelId="{3C98BDAF-BDD1-4898-80FC-5AC898D9CEA5}" type="presOf" srcId="{ABD63E0A-BF9A-460C-B235-FA13EFFDCA04}" destId="{2E2CEF3C-DAE3-4606-B5A5-BCCA1CBCB380}" srcOrd="0" destOrd="4" presId="urn:microsoft.com/office/officeart/2009/3/layout/IncreasingArrowsProcess"/>
    <dgm:cxn modelId="{732AAAB6-D783-4A0A-81C8-CD705B310190}" srcId="{1C9B6F4F-F71B-47E5-A3F4-6A133EDDA7BF}" destId="{CEC56252-0B01-4770-9BC2-4ACE3F50B6CE}" srcOrd="5" destOrd="0" parTransId="{BAEB4B94-DE31-428A-83FC-B77DE8268BBA}" sibTransId="{F9F19D30-50A6-41E8-B11B-4CA689576480}"/>
    <dgm:cxn modelId="{11BECABE-37D8-4A56-A9A6-6D6D1A17D725}" type="presOf" srcId="{82433739-4DC7-4D57-B689-118CA41422CC}" destId="{2E2CEF3C-DAE3-4606-B5A5-BCCA1CBCB380}" srcOrd="0" destOrd="6" presId="urn:microsoft.com/office/officeart/2009/3/layout/IncreasingArrowsProcess"/>
    <dgm:cxn modelId="{EC3623C2-AC79-483C-97E5-3F4FFF1C76BF}" type="presOf" srcId="{3672533D-8F35-4A31-9BF1-7879BDF5BDBE}" destId="{3B15316A-54DA-4456-ADE2-E7F050C432BD}" srcOrd="0" destOrd="0" presId="urn:microsoft.com/office/officeart/2009/3/layout/IncreasingArrowsProcess"/>
    <dgm:cxn modelId="{012964C6-283F-4808-A7B7-41426972B9A9}" srcId="{1C9B6F4F-F71B-47E5-A3F4-6A133EDDA7BF}" destId="{C09D3121-F0B0-4869-A0B8-2142838D6A62}" srcOrd="2" destOrd="0" parTransId="{028500E2-A420-4BA9-9827-E6B917AD9E2E}" sibTransId="{96F86709-B5DA-496A-9B77-570CB0DA6EFF}"/>
    <dgm:cxn modelId="{653111CC-CEBE-429E-8ACD-32E0EEF6BC48}" srcId="{E4F7FC25-1B7F-409B-8CDB-AB80035AB426}" destId="{1C9B6F4F-F71B-47E5-A3F4-6A133EDDA7BF}" srcOrd="2" destOrd="0" parTransId="{A7B34D18-627D-4CC8-8188-C16385F270E3}" sibTransId="{7A8BE1AD-444B-452B-A70D-57AFCE99E04E}"/>
    <dgm:cxn modelId="{732709D6-8ADB-416E-89AC-BC4BDD9236CD}" type="presOf" srcId="{EB6F8CBA-A29F-43D4-82F0-03B87713507D}" destId="{5554142E-C32B-4E5F-9FFA-9D5E68938780}" srcOrd="0" destOrd="0" presId="urn:microsoft.com/office/officeart/2009/3/layout/IncreasingArrowsProcess"/>
    <dgm:cxn modelId="{38CC1CD6-D8D9-46BC-A967-B18EF681256D}" srcId="{19696909-8C48-46BB-BC66-CAD5D98AD709}" destId="{BC7B1659-D774-458A-9AD5-FDBA0EB81088}" srcOrd="1" destOrd="0" parTransId="{2BDDA411-B270-4B2A-92DF-38174B25F00D}" sibTransId="{11EAC833-E84E-4845-AB88-2782780D0775}"/>
    <dgm:cxn modelId="{1FA7B6E0-2319-46BB-9EEA-D921946398AD}" srcId="{1C9B6F4F-F71B-47E5-A3F4-6A133EDDA7BF}" destId="{BB0CFDC6-7C1E-4A60-83D0-4AADFCEDC3F7}" srcOrd="1" destOrd="0" parTransId="{026E3992-AEDF-46D4-9304-087479A2BD1D}" sibTransId="{FB15348B-A8CB-4C3F-9DFE-7CB4961695B1}"/>
    <dgm:cxn modelId="{B3A579EB-CB65-4934-B360-A56676282321}" srcId="{EB6F8CBA-A29F-43D4-82F0-03B87713507D}" destId="{35E16B8E-CCE1-4695-8F2E-A526A427A356}" srcOrd="0" destOrd="0" parTransId="{43F7794A-95C8-43D7-A2AC-2DD7E3072162}" sibTransId="{6E5F8C0E-6D37-428E-A854-26612E21F81D}"/>
    <dgm:cxn modelId="{48BCB5F9-6352-4016-9D9C-21CEC114B477}" type="presParOf" srcId="{0322A22A-B91F-42EC-AA50-5A3C2B1C1D58}" destId="{5554142E-C32B-4E5F-9FFA-9D5E68938780}" srcOrd="0" destOrd="0" presId="urn:microsoft.com/office/officeart/2009/3/layout/IncreasingArrowsProcess"/>
    <dgm:cxn modelId="{17E1B4AE-9032-48B5-964C-FF84854E0ABC}" type="presParOf" srcId="{0322A22A-B91F-42EC-AA50-5A3C2B1C1D58}" destId="{856E43E6-3D70-4376-AA4E-32C2946973DE}" srcOrd="1" destOrd="0" presId="urn:microsoft.com/office/officeart/2009/3/layout/IncreasingArrowsProcess"/>
    <dgm:cxn modelId="{8CF227C0-0888-43D9-B540-FC467B230F71}" type="presParOf" srcId="{0322A22A-B91F-42EC-AA50-5A3C2B1C1D58}" destId="{C30C58A0-B04E-452B-9322-CA41E936892C}" srcOrd="2" destOrd="0" presId="urn:microsoft.com/office/officeart/2009/3/layout/IncreasingArrowsProcess"/>
    <dgm:cxn modelId="{A18E5109-EB20-4FE4-AA8A-A31860AD6E6E}" type="presParOf" srcId="{0322A22A-B91F-42EC-AA50-5A3C2B1C1D58}" destId="{3B15316A-54DA-4456-ADE2-E7F050C432BD}" srcOrd="3" destOrd="0" presId="urn:microsoft.com/office/officeart/2009/3/layout/IncreasingArrowsProcess"/>
    <dgm:cxn modelId="{B8622F24-A7E9-4C85-B4B4-EE72EB2FC94F}" type="presParOf" srcId="{0322A22A-B91F-42EC-AA50-5A3C2B1C1D58}" destId="{CCAB3F69-164F-45F2-B5B9-A78867DCEE16}" srcOrd="4" destOrd="0" presId="urn:microsoft.com/office/officeart/2009/3/layout/IncreasingArrowsProcess"/>
    <dgm:cxn modelId="{7E9C34E3-7706-47BF-85C4-B435A338825D}" type="presParOf" srcId="{0322A22A-B91F-42EC-AA50-5A3C2B1C1D58}" destId="{2E2CEF3C-DAE3-4606-B5A5-BCCA1CBCB380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4F7FC25-1B7F-409B-8CDB-AB80035AB426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ZA"/>
        </a:p>
      </dgm:t>
    </dgm:pt>
    <dgm:pt modelId="{EB6F8CBA-A29F-43D4-82F0-03B87713507D}">
      <dgm:prSet phldrT="[Text]"/>
      <dgm:spPr/>
      <dgm:t>
        <a:bodyPr/>
        <a:lstStyle/>
        <a:p>
          <a:r>
            <a:rPr lang="en-ZA" dirty="0"/>
            <a:t>Impact: </a:t>
          </a:r>
        </a:p>
      </dgm:t>
    </dgm:pt>
    <dgm:pt modelId="{46587606-BE85-4879-980C-E311B005708F}" type="parTrans" cxnId="{830DAA77-536E-40F8-9905-2573DD09F600}">
      <dgm:prSet/>
      <dgm:spPr/>
      <dgm:t>
        <a:bodyPr/>
        <a:lstStyle/>
        <a:p>
          <a:endParaRPr lang="en-ZA"/>
        </a:p>
      </dgm:t>
    </dgm:pt>
    <dgm:pt modelId="{20B777CD-0AE9-44DF-BBCF-960FAB4144E8}" type="sibTrans" cxnId="{830DAA77-536E-40F8-9905-2573DD09F600}">
      <dgm:prSet/>
      <dgm:spPr/>
      <dgm:t>
        <a:bodyPr/>
        <a:lstStyle/>
        <a:p>
          <a:endParaRPr lang="en-ZA"/>
        </a:p>
      </dgm:t>
    </dgm:pt>
    <dgm:pt modelId="{35E16B8E-CCE1-4695-8F2E-A526A427A356}">
      <dgm:prSet phldrT="[Text]"/>
      <dgm:spPr/>
      <dgm:t>
        <a:bodyPr/>
        <a:lstStyle/>
        <a:p>
          <a:pPr algn="ctr"/>
          <a:r>
            <a:rPr lang="en-ZA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Integrated support and solution for efficient  and economic service delivery</a:t>
          </a:r>
          <a:endParaRPr lang="en-ZA" dirty="0"/>
        </a:p>
      </dgm:t>
    </dgm:pt>
    <dgm:pt modelId="{43F7794A-95C8-43D7-A2AC-2DD7E3072162}" type="parTrans" cxnId="{B3A579EB-CB65-4934-B360-A56676282321}">
      <dgm:prSet/>
      <dgm:spPr/>
      <dgm:t>
        <a:bodyPr/>
        <a:lstStyle/>
        <a:p>
          <a:endParaRPr lang="en-ZA"/>
        </a:p>
      </dgm:t>
    </dgm:pt>
    <dgm:pt modelId="{6E5F8C0E-6D37-428E-A854-26612E21F81D}" type="sibTrans" cxnId="{B3A579EB-CB65-4934-B360-A56676282321}">
      <dgm:prSet/>
      <dgm:spPr/>
      <dgm:t>
        <a:bodyPr/>
        <a:lstStyle/>
        <a:p>
          <a:endParaRPr lang="en-ZA"/>
        </a:p>
      </dgm:t>
    </dgm:pt>
    <dgm:pt modelId="{19696909-8C48-46BB-BC66-CAD5D98AD709}">
      <dgm:prSet phldrT="[Text]"/>
      <dgm:spPr/>
      <dgm:t>
        <a:bodyPr/>
        <a:lstStyle/>
        <a:p>
          <a:r>
            <a:rPr lang="en-ZA" dirty="0"/>
            <a:t>Outcome:</a:t>
          </a:r>
        </a:p>
      </dgm:t>
    </dgm:pt>
    <dgm:pt modelId="{03B51307-9445-4544-9771-772629675289}" type="parTrans" cxnId="{08E91F31-5CF3-4EEE-8C47-932A0DAADBC6}">
      <dgm:prSet/>
      <dgm:spPr/>
      <dgm:t>
        <a:bodyPr/>
        <a:lstStyle/>
        <a:p>
          <a:endParaRPr lang="en-ZA"/>
        </a:p>
      </dgm:t>
    </dgm:pt>
    <dgm:pt modelId="{16A7768E-8FFC-4FBE-9730-B00AEF21F663}" type="sibTrans" cxnId="{08E91F31-5CF3-4EEE-8C47-932A0DAADBC6}">
      <dgm:prSet/>
      <dgm:spPr/>
      <dgm:t>
        <a:bodyPr/>
        <a:lstStyle/>
        <a:p>
          <a:endParaRPr lang="en-ZA"/>
        </a:p>
      </dgm:t>
    </dgm:pt>
    <dgm:pt modelId="{3672533D-8F35-4A31-9BF1-7879BDF5BDBE}">
      <dgm:prSet phldrT="[Text]"/>
      <dgm:spPr/>
      <dgm:t>
        <a:bodyPr/>
        <a:lstStyle/>
        <a:p>
          <a:r>
            <a:rPr lang="en-ZA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Build capacity to ensure value driven Correctional Services</a:t>
          </a:r>
          <a:endParaRPr lang="en-ZA" dirty="0"/>
        </a:p>
      </dgm:t>
    </dgm:pt>
    <dgm:pt modelId="{3895EC86-D6A3-43CD-A7C4-6BD72386C11D}" type="parTrans" cxnId="{E42BCF80-003F-4418-B46A-6ACF6604D2CB}">
      <dgm:prSet/>
      <dgm:spPr/>
      <dgm:t>
        <a:bodyPr/>
        <a:lstStyle/>
        <a:p>
          <a:endParaRPr lang="en-ZA"/>
        </a:p>
      </dgm:t>
    </dgm:pt>
    <dgm:pt modelId="{AFCA6754-B92A-439F-86E3-B2D211B0C3DF}" type="sibTrans" cxnId="{E42BCF80-003F-4418-B46A-6ACF6604D2CB}">
      <dgm:prSet/>
      <dgm:spPr/>
      <dgm:t>
        <a:bodyPr/>
        <a:lstStyle/>
        <a:p>
          <a:endParaRPr lang="en-ZA"/>
        </a:p>
      </dgm:t>
    </dgm:pt>
    <dgm:pt modelId="{1C9B6F4F-F71B-47E5-A3F4-6A133EDDA7BF}">
      <dgm:prSet phldrT="[Text]"/>
      <dgm:spPr/>
      <dgm:t>
        <a:bodyPr/>
        <a:lstStyle/>
        <a:p>
          <a:r>
            <a:rPr lang="en-ZA" dirty="0"/>
            <a:t>Strategic intent:</a:t>
          </a:r>
        </a:p>
      </dgm:t>
    </dgm:pt>
    <dgm:pt modelId="{A7B34D18-627D-4CC8-8188-C16385F270E3}" type="parTrans" cxnId="{653111CC-CEBE-429E-8ACD-32E0EEF6BC48}">
      <dgm:prSet/>
      <dgm:spPr/>
      <dgm:t>
        <a:bodyPr/>
        <a:lstStyle/>
        <a:p>
          <a:endParaRPr lang="en-ZA"/>
        </a:p>
      </dgm:t>
    </dgm:pt>
    <dgm:pt modelId="{7A8BE1AD-444B-452B-A70D-57AFCE99E04E}" type="sibTrans" cxnId="{653111CC-CEBE-429E-8ACD-32E0EEF6BC48}">
      <dgm:prSet/>
      <dgm:spPr/>
      <dgm:t>
        <a:bodyPr/>
        <a:lstStyle/>
        <a:p>
          <a:endParaRPr lang="en-ZA"/>
        </a:p>
      </dgm:t>
    </dgm:pt>
    <dgm:pt modelId="{A550DE6B-60E9-42A4-BA24-09B99E04212B}">
      <dgm:prSet phldrT="[Text]"/>
      <dgm:spPr/>
      <dgm:t>
        <a:bodyPr/>
        <a:lstStyle/>
        <a:p>
          <a:r>
            <a:rPr lang="en-ZA" b="1" dirty="0"/>
            <a:t>Clean audit outcomes</a:t>
          </a:r>
        </a:p>
        <a:p>
          <a:endParaRPr lang="en-ZA" b="1" dirty="0"/>
        </a:p>
        <a:p>
          <a:r>
            <a:rPr lang="en-ZA" b="1" dirty="0"/>
            <a:t>Increased revenue and productivity </a:t>
          </a:r>
        </a:p>
        <a:p>
          <a:endParaRPr lang="en-ZA" b="1" dirty="0"/>
        </a:p>
        <a:p>
          <a:r>
            <a:rPr lang="en-ZA" b="1" dirty="0"/>
            <a:t>Improved Compliance levels with laws and regulations  </a:t>
          </a:r>
          <a:endParaRPr lang="en-ZA" dirty="0"/>
        </a:p>
      </dgm:t>
    </dgm:pt>
    <dgm:pt modelId="{F4CB9502-2D6C-47DA-A50D-94C4C749FB63}" type="parTrans" cxnId="{532B4E34-E822-43E5-A218-C81D039BC82B}">
      <dgm:prSet/>
      <dgm:spPr/>
      <dgm:t>
        <a:bodyPr/>
        <a:lstStyle/>
        <a:p>
          <a:endParaRPr lang="en-ZA"/>
        </a:p>
      </dgm:t>
    </dgm:pt>
    <dgm:pt modelId="{E57F40EC-C532-4728-B92E-A9224576F231}" type="sibTrans" cxnId="{532B4E34-E822-43E5-A218-C81D039BC82B}">
      <dgm:prSet/>
      <dgm:spPr/>
      <dgm:t>
        <a:bodyPr/>
        <a:lstStyle/>
        <a:p>
          <a:endParaRPr lang="en-ZA"/>
        </a:p>
      </dgm:t>
    </dgm:pt>
    <dgm:pt modelId="{BAD5FAA4-94A7-43CD-A735-B5C2D83937F6}">
      <dgm:prSet/>
      <dgm:spPr/>
      <dgm:t>
        <a:bodyPr/>
        <a:lstStyle/>
        <a:p>
          <a:pPr algn="l"/>
          <a:endParaRPr lang="en-ZA" dirty="0"/>
        </a:p>
      </dgm:t>
    </dgm:pt>
    <dgm:pt modelId="{890AC574-3A8B-4DB7-A9B9-3961565CB2B3}" type="parTrans" cxnId="{A1D63A69-51C9-4145-AAAE-0C785AA55BD1}">
      <dgm:prSet/>
      <dgm:spPr/>
      <dgm:t>
        <a:bodyPr/>
        <a:lstStyle/>
        <a:p>
          <a:endParaRPr lang="en-ZA"/>
        </a:p>
      </dgm:t>
    </dgm:pt>
    <dgm:pt modelId="{0BECE5CD-63A2-48B1-8B89-39D3C9C3BC75}" type="sibTrans" cxnId="{A1D63A69-51C9-4145-AAAE-0C785AA55BD1}">
      <dgm:prSet/>
      <dgm:spPr/>
      <dgm:t>
        <a:bodyPr/>
        <a:lstStyle/>
        <a:p>
          <a:endParaRPr lang="en-ZA"/>
        </a:p>
      </dgm:t>
    </dgm:pt>
    <dgm:pt modelId="{BC7B1659-D774-458A-9AD5-FDBA0EB81088}">
      <dgm:prSet/>
      <dgm:spPr/>
      <dgm:t>
        <a:bodyPr/>
        <a:lstStyle/>
        <a:p>
          <a:endParaRPr lang="en-ZA" dirty="0"/>
        </a:p>
      </dgm:t>
    </dgm:pt>
    <dgm:pt modelId="{2BDDA411-B270-4B2A-92DF-38174B25F00D}" type="parTrans" cxnId="{38CC1CD6-D8D9-46BC-A967-B18EF681256D}">
      <dgm:prSet/>
      <dgm:spPr/>
      <dgm:t>
        <a:bodyPr/>
        <a:lstStyle/>
        <a:p>
          <a:endParaRPr lang="en-ZA"/>
        </a:p>
      </dgm:t>
    </dgm:pt>
    <dgm:pt modelId="{11EAC833-E84E-4845-AB88-2782780D0775}" type="sibTrans" cxnId="{38CC1CD6-D8D9-46BC-A967-B18EF681256D}">
      <dgm:prSet/>
      <dgm:spPr/>
      <dgm:t>
        <a:bodyPr/>
        <a:lstStyle/>
        <a:p>
          <a:endParaRPr lang="en-ZA"/>
        </a:p>
      </dgm:t>
    </dgm:pt>
    <dgm:pt modelId="{0322A22A-B91F-42EC-AA50-5A3C2B1C1D58}" type="pres">
      <dgm:prSet presAssocID="{E4F7FC25-1B7F-409B-8CDB-AB80035AB426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5554142E-C32B-4E5F-9FFA-9D5E68938780}" type="pres">
      <dgm:prSet presAssocID="{EB6F8CBA-A29F-43D4-82F0-03B87713507D}" presName="parentText1" presStyleLbl="node1" presStyleIdx="0" presStyleCnt="3">
        <dgm:presLayoutVars>
          <dgm:chMax/>
          <dgm:chPref val="3"/>
          <dgm:bulletEnabled val="1"/>
        </dgm:presLayoutVars>
      </dgm:prSet>
      <dgm:spPr/>
    </dgm:pt>
    <dgm:pt modelId="{856E43E6-3D70-4376-AA4E-32C2946973DE}" type="pres">
      <dgm:prSet presAssocID="{EB6F8CBA-A29F-43D4-82F0-03B87713507D}" presName="childText1" presStyleLbl="solidAlignAcc1" presStyleIdx="0" presStyleCnt="3">
        <dgm:presLayoutVars>
          <dgm:chMax val="0"/>
          <dgm:chPref val="0"/>
          <dgm:bulletEnabled val="1"/>
        </dgm:presLayoutVars>
      </dgm:prSet>
      <dgm:spPr/>
    </dgm:pt>
    <dgm:pt modelId="{C30C58A0-B04E-452B-9322-CA41E936892C}" type="pres">
      <dgm:prSet presAssocID="{19696909-8C48-46BB-BC66-CAD5D98AD709}" presName="parentText2" presStyleLbl="node1" presStyleIdx="1" presStyleCnt="3">
        <dgm:presLayoutVars>
          <dgm:chMax/>
          <dgm:chPref val="3"/>
          <dgm:bulletEnabled val="1"/>
        </dgm:presLayoutVars>
      </dgm:prSet>
      <dgm:spPr/>
    </dgm:pt>
    <dgm:pt modelId="{3B15316A-54DA-4456-ADE2-E7F050C432BD}" type="pres">
      <dgm:prSet presAssocID="{19696909-8C48-46BB-BC66-CAD5D98AD709}" presName="childText2" presStyleLbl="solidAlignAcc1" presStyleIdx="1" presStyleCnt="3">
        <dgm:presLayoutVars>
          <dgm:chMax val="0"/>
          <dgm:chPref val="0"/>
          <dgm:bulletEnabled val="1"/>
        </dgm:presLayoutVars>
      </dgm:prSet>
      <dgm:spPr/>
    </dgm:pt>
    <dgm:pt modelId="{CCAB3F69-164F-45F2-B5B9-A78867DCEE16}" type="pres">
      <dgm:prSet presAssocID="{1C9B6F4F-F71B-47E5-A3F4-6A133EDDA7BF}" presName="parentText3" presStyleLbl="node1" presStyleIdx="2" presStyleCnt="3">
        <dgm:presLayoutVars>
          <dgm:chMax/>
          <dgm:chPref val="3"/>
          <dgm:bulletEnabled val="1"/>
        </dgm:presLayoutVars>
      </dgm:prSet>
      <dgm:spPr/>
    </dgm:pt>
    <dgm:pt modelId="{2E2CEF3C-DAE3-4606-B5A5-BCCA1CBCB380}" type="pres">
      <dgm:prSet presAssocID="{1C9B6F4F-F71B-47E5-A3F4-6A133EDDA7BF}" presName="childText3" presStyleLbl="solidAlignAcc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EC0A7005-DE0E-4000-AB55-7220E72B4EE7}" type="presOf" srcId="{BC7B1659-D774-458A-9AD5-FDBA0EB81088}" destId="{3B15316A-54DA-4456-ADE2-E7F050C432BD}" srcOrd="0" destOrd="1" presId="urn:microsoft.com/office/officeart/2009/3/layout/IncreasingArrowsProcess"/>
    <dgm:cxn modelId="{4E0D172D-3038-46BB-B7F9-E5A6C1AA6D1D}" type="presOf" srcId="{EB6F8CBA-A29F-43D4-82F0-03B87713507D}" destId="{5554142E-C32B-4E5F-9FFA-9D5E68938780}" srcOrd="0" destOrd="0" presId="urn:microsoft.com/office/officeart/2009/3/layout/IncreasingArrowsProcess"/>
    <dgm:cxn modelId="{08E91F31-5CF3-4EEE-8C47-932A0DAADBC6}" srcId="{E4F7FC25-1B7F-409B-8CDB-AB80035AB426}" destId="{19696909-8C48-46BB-BC66-CAD5D98AD709}" srcOrd="1" destOrd="0" parTransId="{03B51307-9445-4544-9771-772629675289}" sibTransId="{16A7768E-8FFC-4FBE-9730-B00AEF21F663}"/>
    <dgm:cxn modelId="{532B4E34-E822-43E5-A218-C81D039BC82B}" srcId="{1C9B6F4F-F71B-47E5-A3F4-6A133EDDA7BF}" destId="{A550DE6B-60E9-42A4-BA24-09B99E04212B}" srcOrd="0" destOrd="0" parTransId="{F4CB9502-2D6C-47DA-A50D-94C4C749FB63}" sibTransId="{E57F40EC-C532-4728-B92E-A9224576F231}"/>
    <dgm:cxn modelId="{1A28D835-F7A5-43A8-8ED5-F9CE99A4089D}" type="presOf" srcId="{BAD5FAA4-94A7-43CD-A735-B5C2D83937F6}" destId="{856E43E6-3D70-4376-AA4E-32C2946973DE}" srcOrd="0" destOrd="1" presId="urn:microsoft.com/office/officeart/2009/3/layout/IncreasingArrowsProcess"/>
    <dgm:cxn modelId="{21CBBD67-97F4-4B21-B15D-0DBA0037B673}" type="presOf" srcId="{1C9B6F4F-F71B-47E5-A3F4-6A133EDDA7BF}" destId="{CCAB3F69-164F-45F2-B5B9-A78867DCEE16}" srcOrd="0" destOrd="0" presId="urn:microsoft.com/office/officeart/2009/3/layout/IncreasingArrowsProcess"/>
    <dgm:cxn modelId="{A1D63A69-51C9-4145-AAAE-0C785AA55BD1}" srcId="{EB6F8CBA-A29F-43D4-82F0-03B87713507D}" destId="{BAD5FAA4-94A7-43CD-A735-B5C2D83937F6}" srcOrd="1" destOrd="0" parTransId="{890AC574-3A8B-4DB7-A9B9-3961565CB2B3}" sibTransId="{0BECE5CD-63A2-48B1-8B89-39D3C9C3BC75}"/>
    <dgm:cxn modelId="{9CF51071-6EE6-4DE9-9676-BCBC86A406D8}" type="presOf" srcId="{3672533D-8F35-4A31-9BF1-7879BDF5BDBE}" destId="{3B15316A-54DA-4456-ADE2-E7F050C432BD}" srcOrd="0" destOrd="0" presId="urn:microsoft.com/office/officeart/2009/3/layout/IncreasingArrowsProcess"/>
    <dgm:cxn modelId="{830DAA77-536E-40F8-9905-2573DD09F600}" srcId="{E4F7FC25-1B7F-409B-8CDB-AB80035AB426}" destId="{EB6F8CBA-A29F-43D4-82F0-03B87713507D}" srcOrd="0" destOrd="0" parTransId="{46587606-BE85-4879-980C-E311B005708F}" sibTransId="{20B777CD-0AE9-44DF-BBCF-960FAB4144E8}"/>
    <dgm:cxn modelId="{E42BCF80-003F-4418-B46A-6ACF6604D2CB}" srcId="{19696909-8C48-46BB-BC66-CAD5D98AD709}" destId="{3672533D-8F35-4A31-9BF1-7879BDF5BDBE}" srcOrd="0" destOrd="0" parTransId="{3895EC86-D6A3-43CD-A7C4-6BD72386C11D}" sibTransId="{AFCA6754-B92A-439F-86E3-B2D211B0C3DF}"/>
    <dgm:cxn modelId="{30C84CAA-64D5-4B6B-815B-2573FCC6A044}" type="presOf" srcId="{35E16B8E-CCE1-4695-8F2E-A526A427A356}" destId="{856E43E6-3D70-4376-AA4E-32C2946973DE}" srcOrd="0" destOrd="0" presId="urn:microsoft.com/office/officeart/2009/3/layout/IncreasingArrowsProcess"/>
    <dgm:cxn modelId="{653111CC-CEBE-429E-8ACD-32E0EEF6BC48}" srcId="{E4F7FC25-1B7F-409B-8CDB-AB80035AB426}" destId="{1C9B6F4F-F71B-47E5-A3F4-6A133EDDA7BF}" srcOrd="2" destOrd="0" parTransId="{A7B34D18-627D-4CC8-8188-C16385F270E3}" sibTransId="{7A8BE1AD-444B-452B-A70D-57AFCE99E04E}"/>
    <dgm:cxn modelId="{2806F2D1-3689-44BB-8E2F-7F6DE9D3D68C}" type="presOf" srcId="{19696909-8C48-46BB-BC66-CAD5D98AD709}" destId="{C30C58A0-B04E-452B-9322-CA41E936892C}" srcOrd="0" destOrd="0" presId="urn:microsoft.com/office/officeart/2009/3/layout/IncreasingArrowsProcess"/>
    <dgm:cxn modelId="{A7177CD3-4F3C-411A-89C7-2C8909050B51}" type="presOf" srcId="{E4F7FC25-1B7F-409B-8CDB-AB80035AB426}" destId="{0322A22A-B91F-42EC-AA50-5A3C2B1C1D58}" srcOrd="0" destOrd="0" presId="urn:microsoft.com/office/officeart/2009/3/layout/IncreasingArrowsProcess"/>
    <dgm:cxn modelId="{38CC1CD6-D8D9-46BC-A967-B18EF681256D}" srcId="{19696909-8C48-46BB-BC66-CAD5D98AD709}" destId="{BC7B1659-D774-458A-9AD5-FDBA0EB81088}" srcOrd="1" destOrd="0" parTransId="{2BDDA411-B270-4B2A-92DF-38174B25F00D}" sibTransId="{11EAC833-E84E-4845-AB88-2782780D0775}"/>
    <dgm:cxn modelId="{B3A579EB-CB65-4934-B360-A56676282321}" srcId="{EB6F8CBA-A29F-43D4-82F0-03B87713507D}" destId="{35E16B8E-CCE1-4695-8F2E-A526A427A356}" srcOrd="0" destOrd="0" parTransId="{43F7794A-95C8-43D7-A2AC-2DD7E3072162}" sibTransId="{6E5F8C0E-6D37-428E-A854-26612E21F81D}"/>
    <dgm:cxn modelId="{47ECF7EE-DC8C-4DF2-B0BE-4F58B69C6F12}" type="presOf" srcId="{A550DE6B-60E9-42A4-BA24-09B99E04212B}" destId="{2E2CEF3C-DAE3-4606-B5A5-BCCA1CBCB380}" srcOrd="0" destOrd="0" presId="urn:microsoft.com/office/officeart/2009/3/layout/IncreasingArrowsProcess"/>
    <dgm:cxn modelId="{775403EB-CD36-4C8F-A59E-64084E09532D}" type="presParOf" srcId="{0322A22A-B91F-42EC-AA50-5A3C2B1C1D58}" destId="{5554142E-C32B-4E5F-9FFA-9D5E68938780}" srcOrd="0" destOrd="0" presId="urn:microsoft.com/office/officeart/2009/3/layout/IncreasingArrowsProcess"/>
    <dgm:cxn modelId="{8251DDE5-9CA0-46E8-95F6-F44277C8F462}" type="presParOf" srcId="{0322A22A-B91F-42EC-AA50-5A3C2B1C1D58}" destId="{856E43E6-3D70-4376-AA4E-32C2946973DE}" srcOrd="1" destOrd="0" presId="urn:microsoft.com/office/officeart/2009/3/layout/IncreasingArrowsProcess"/>
    <dgm:cxn modelId="{ECA794D6-0EC0-49F9-8E59-426C507F2ACC}" type="presParOf" srcId="{0322A22A-B91F-42EC-AA50-5A3C2B1C1D58}" destId="{C30C58A0-B04E-452B-9322-CA41E936892C}" srcOrd="2" destOrd="0" presId="urn:microsoft.com/office/officeart/2009/3/layout/IncreasingArrowsProcess"/>
    <dgm:cxn modelId="{5E1FB405-09BD-48CB-9D2D-AF6BCB907CD6}" type="presParOf" srcId="{0322A22A-B91F-42EC-AA50-5A3C2B1C1D58}" destId="{3B15316A-54DA-4456-ADE2-E7F050C432BD}" srcOrd="3" destOrd="0" presId="urn:microsoft.com/office/officeart/2009/3/layout/IncreasingArrowsProcess"/>
    <dgm:cxn modelId="{AF1BD7B4-5087-4A9F-93B8-D1DEDE9C78E9}" type="presParOf" srcId="{0322A22A-B91F-42EC-AA50-5A3C2B1C1D58}" destId="{CCAB3F69-164F-45F2-B5B9-A78867DCEE16}" srcOrd="4" destOrd="0" presId="urn:microsoft.com/office/officeart/2009/3/layout/IncreasingArrowsProcess"/>
    <dgm:cxn modelId="{EFE75B9E-7846-47DF-91B0-4403035348F4}" type="presParOf" srcId="{0322A22A-B91F-42EC-AA50-5A3C2B1C1D58}" destId="{2E2CEF3C-DAE3-4606-B5A5-BCCA1CBCB380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E4F7FC25-1B7F-409B-8CDB-AB80035AB426}" type="doc">
      <dgm:prSet loTypeId="urn:microsoft.com/office/officeart/2009/3/layout/IncreasingArrowsProcess" loCatId="process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en-ZA"/>
        </a:p>
      </dgm:t>
    </dgm:pt>
    <dgm:pt modelId="{EB6F8CBA-A29F-43D4-82F0-03B87713507D}">
      <dgm:prSet phldrT="[Text]"/>
      <dgm:spPr/>
      <dgm:t>
        <a:bodyPr/>
        <a:lstStyle/>
        <a:p>
          <a:r>
            <a:rPr lang="en-ZA" dirty="0"/>
            <a:t>Impact: </a:t>
          </a:r>
        </a:p>
      </dgm:t>
    </dgm:pt>
    <dgm:pt modelId="{46587606-BE85-4879-980C-E311B005708F}" type="parTrans" cxnId="{830DAA77-536E-40F8-9905-2573DD09F600}">
      <dgm:prSet/>
      <dgm:spPr/>
      <dgm:t>
        <a:bodyPr/>
        <a:lstStyle/>
        <a:p>
          <a:endParaRPr lang="en-ZA"/>
        </a:p>
      </dgm:t>
    </dgm:pt>
    <dgm:pt modelId="{20B777CD-0AE9-44DF-BBCF-960FAB4144E8}" type="sibTrans" cxnId="{830DAA77-536E-40F8-9905-2573DD09F600}">
      <dgm:prSet/>
      <dgm:spPr/>
      <dgm:t>
        <a:bodyPr/>
        <a:lstStyle/>
        <a:p>
          <a:endParaRPr lang="en-ZA"/>
        </a:p>
      </dgm:t>
    </dgm:pt>
    <dgm:pt modelId="{35E16B8E-CCE1-4695-8F2E-A526A427A356}">
      <dgm:prSet phldrT="[Text]"/>
      <dgm:spPr/>
      <dgm:t>
        <a:bodyPr/>
        <a:lstStyle/>
        <a:p>
          <a:pPr algn="ctr"/>
          <a:r>
            <a:rPr lang="en-ZA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Integrated support and solution for efficient  and economic service delivery</a:t>
          </a:r>
          <a:endParaRPr lang="en-ZA" dirty="0"/>
        </a:p>
      </dgm:t>
    </dgm:pt>
    <dgm:pt modelId="{43F7794A-95C8-43D7-A2AC-2DD7E3072162}" type="parTrans" cxnId="{B3A579EB-CB65-4934-B360-A56676282321}">
      <dgm:prSet/>
      <dgm:spPr/>
      <dgm:t>
        <a:bodyPr/>
        <a:lstStyle/>
        <a:p>
          <a:endParaRPr lang="en-ZA"/>
        </a:p>
      </dgm:t>
    </dgm:pt>
    <dgm:pt modelId="{6E5F8C0E-6D37-428E-A854-26612E21F81D}" type="sibTrans" cxnId="{B3A579EB-CB65-4934-B360-A56676282321}">
      <dgm:prSet/>
      <dgm:spPr/>
      <dgm:t>
        <a:bodyPr/>
        <a:lstStyle/>
        <a:p>
          <a:endParaRPr lang="en-ZA"/>
        </a:p>
      </dgm:t>
    </dgm:pt>
    <dgm:pt modelId="{19696909-8C48-46BB-BC66-CAD5D98AD709}">
      <dgm:prSet phldrT="[Text]"/>
      <dgm:spPr/>
      <dgm:t>
        <a:bodyPr/>
        <a:lstStyle/>
        <a:p>
          <a:r>
            <a:rPr lang="en-ZA" dirty="0"/>
            <a:t>Outcome:</a:t>
          </a:r>
        </a:p>
      </dgm:t>
    </dgm:pt>
    <dgm:pt modelId="{03B51307-9445-4544-9771-772629675289}" type="parTrans" cxnId="{08E91F31-5CF3-4EEE-8C47-932A0DAADBC6}">
      <dgm:prSet/>
      <dgm:spPr/>
      <dgm:t>
        <a:bodyPr/>
        <a:lstStyle/>
        <a:p>
          <a:endParaRPr lang="en-ZA"/>
        </a:p>
      </dgm:t>
    </dgm:pt>
    <dgm:pt modelId="{16A7768E-8FFC-4FBE-9730-B00AEF21F663}" type="sibTrans" cxnId="{08E91F31-5CF3-4EEE-8C47-932A0DAADBC6}">
      <dgm:prSet/>
      <dgm:spPr/>
      <dgm:t>
        <a:bodyPr/>
        <a:lstStyle/>
        <a:p>
          <a:endParaRPr lang="en-ZA"/>
        </a:p>
      </dgm:t>
    </dgm:pt>
    <dgm:pt modelId="{3672533D-8F35-4A31-9BF1-7879BDF5BDBE}">
      <dgm:prSet phldrT="[Text]"/>
      <dgm:spPr/>
      <dgm:t>
        <a:bodyPr/>
        <a:lstStyle/>
        <a:p>
          <a:r>
            <a:rPr lang="en-ZA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Build capacity to ensure value driven Correctional Services</a:t>
          </a:r>
          <a:endParaRPr lang="en-ZA" dirty="0"/>
        </a:p>
      </dgm:t>
    </dgm:pt>
    <dgm:pt modelId="{3895EC86-D6A3-43CD-A7C4-6BD72386C11D}" type="parTrans" cxnId="{E42BCF80-003F-4418-B46A-6ACF6604D2CB}">
      <dgm:prSet/>
      <dgm:spPr/>
      <dgm:t>
        <a:bodyPr/>
        <a:lstStyle/>
        <a:p>
          <a:endParaRPr lang="en-ZA"/>
        </a:p>
      </dgm:t>
    </dgm:pt>
    <dgm:pt modelId="{AFCA6754-B92A-439F-86E3-B2D211B0C3DF}" type="sibTrans" cxnId="{E42BCF80-003F-4418-B46A-6ACF6604D2CB}">
      <dgm:prSet/>
      <dgm:spPr/>
      <dgm:t>
        <a:bodyPr/>
        <a:lstStyle/>
        <a:p>
          <a:endParaRPr lang="en-ZA"/>
        </a:p>
      </dgm:t>
    </dgm:pt>
    <dgm:pt modelId="{1C9B6F4F-F71B-47E5-A3F4-6A133EDDA7BF}">
      <dgm:prSet phldrT="[Text]"/>
      <dgm:spPr/>
      <dgm:t>
        <a:bodyPr/>
        <a:lstStyle/>
        <a:p>
          <a:r>
            <a:rPr lang="en-ZA" dirty="0"/>
            <a:t>Strategic intent:</a:t>
          </a:r>
        </a:p>
      </dgm:t>
    </dgm:pt>
    <dgm:pt modelId="{A7B34D18-627D-4CC8-8188-C16385F270E3}" type="parTrans" cxnId="{653111CC-CEBE-429E-8ACD-32E0EEF6BC48}">
      <dgm:prSet/>
      <dgm:spPr/>
      <dgm:t>
        <a:bodyPr/>
        <a:lstStyle/>
        <a:p>
          <a:endParaRPr lang="en-ZA"/>
        </a:p>
      </dgm:t>
    </dgm:pt>
    <dgm:pt modelId="{7A8BE1AD-444B-452B-A70D-57AFCE99E04E}" type="sibTrans" cxnId="{653111CC-CEBE-429E-8ACD-32E0EEF6BC48}">
      <dgm:prSet/>
      <dgm:spPr/>
      <dgm:t>
        <a:bodyPr/>
        <a:lstStyle/>
        <a:p>
          <a:endParaRPr lang="en-ZA"/>
        </a:p>
      </dgm:t>
    </dgm:pt>
    <dgm:pt modelId="{A550DE6B-60E9-42A4-BA24-09B99E04212B}">
      <dgm:prSet phldrT="[Text]" custT="1"/>
      <dgm:spPr/>
      <dgm:t>
        <a:bodyPr/>
        <a:lstStyle/>
        <a:p>
          <a:r>
            <a:rPr lang="en-ZA" sz="3200" b="1" dirty="0"/>
            <a:t>A Capable Correctional Services</a:t>
          </a:r>
          <a:endParaRPr lang="en-ZA" sz="3200" dirty="0"/>
        </a:p>
      </dgm:t>
    </dgm:pt>
    <dgm:pt modelId="{F4CB9502-2D6C-47DA-A50D-94C4C749FB63}" type="parTrans" cxnId="{532B4E34-E822-43E5-A218-C81D039BC82B}">
      <dgm:prSet/>
      <dgm:spPr/>
      <dgm:t>
        <a:bodyPr/>
        <a:lstStyle/>
        <a:p>
          <a:endParaRPr lang="en-ZA"/>
        </a:p>
      </dgm:t>
    </dgm:pt>
    <dgm:pt modelId="{E57F40EC-C532-4728-B92E-A9224576F231}" type="sibTrans" cxnId="{532B4E34-E822-43E5-A218-C81D039BC82B}">
      <dgm:prSet/>
      <dgm:spPr/>
      <dgm:t>
        <a:bodyPr/>
        <a:lstStyle/>
        <a:p>
          <a:endParaRPr lang="en-ZA"/>
        </a:p>
      </dgm:t>
    </dgm:pt>
    <dgm:pt modelId="{BAD5FAA4-94A7-43CD-A735-B5C2D83937F6}">
      <dgm:prSet/>
      <dgm:spPr/>
      <dgm:t>
        <a:bodyPr/>
        <a:lstStyle/>
        <a:p>
          <a:pPr algn="l"/>
          <a:endParaRPr lang="en-ZA" dirty="0"/>
        </a:p>
      </dgm:t>
    </dgm:pt>
    <dgm:pt modelId="{890AC574-3A8B-4DB7-A9B9-3961565CB2B3}" type="parTrans" cxnId="{A1D63A69-51C9-4145-AAAE-0C785AA55BD1}">
      <dgm:prSet/>
      <dgm:spPr/>
      <dgm:t>
        <a:bodyPr/>
        <a:lstStyle/>
        <a:p>
          <a:endParaRPr lang="en-ZA"/>
        </a:p>
      </dgm:t>
    </dgm:pt>
    <dgm:pt modelId="{0BECE5CD-63A2-48B1-8B89-39D3C9C3BC75}" type="sibTrans" cxnId="{A1D63A69-51C9-4145-AAAE-0C785AA55BD1}">
      <dgm:prSet/>
      <dgm:spPr/>
      <dgm:t>
        <a:bodyPr/>
        <a:lstStyle/>
        <a:p>
          <a:endParaRPr lang="en-ZA"/>
        </a:p>
      </dgm:t>
    </dgm:pt>
    <dgm:pt modelId="{BC7B1659-D774-458A-9AD5-FDBA0EB81088}">
      <dgm:prSet/>
      <dgm:spPr/>
      <dgm:t>
        <a:bodyPr/>
        <a:lstStyle/>
        <a:p>
          <a:endParaRPr lang="en-ZA" dirty="0"/>
        </a:p>
      </dgm:t>
    </dgm:pt>
    <dgm:pt modelId="{2BDDA411-B270-4B2A-92DF-38174B25F00D}" type="parTrans" cxnId="{38CC1CD6-D8D9-46BC-A967-B18EF681256D}">
      <dgm:prSet/>
      <dgm:spPr/>
      <dgm:t>
        <a:bodyPr/>
        <a:lstStyle/>
        <a:p>
          <a:endParaRPr lang="en-ZA"/>
        </a:p>
      </dgm:t>
    </dgm:pt>
    <dgm:pt modelId="{11EAC833-E84E-4845-AB88-2782780D0775}" type="sibTrans" cxnId="{38CC1CD6-D8D9-46BC-A967-B18EF681256D}">
      <dgm:prSet/>
      <dgm:spPr/>
      <dgm:t>
        <a:bodyPr/>
        <a:lstStyle/>
        <a:p>
          <a:endParaRPr lang="en-ZA"/>
        </a:p>
      </dgm:t>
    </dgm:pt>
    <dgm:pt modelId="{0322A22A-B91F-42EC-AA50-5A3C2B1C1D58}" type="pres">
      <dgm:prSet presAssocID="{E4F7FC25-1B7F-409B-8CDB-AB80035AB426}" presName="Name0" presStyleCnt="0">
        <dgm:presLayoutVars>
          <dgm:chMax val="5"/>
          <dgm:chPref val="5"/>
          <dgm:dir/>
          <dgm:animLvl val="lvl"/>
        </dgm:presLayoutVars>
      </dgm:prSet>
      <dgm:spPr/>
    </dgm:pt>
    <dgm:pt modelId="{5554142E-C32B-4E5F-9FFA-9D5E68938780}" type="pres">
      <dgm:prSet presAssocID="{EB6F8CBA-A29F-43D4-82F0-03B87713507D}" presName="parentText1" presStyleLbl="node1" presStyleIdx="0" presStyleCnt="3">
        <dgm:presLayoutVars>
          <dgm:chMax/>
          <dgm:chPref val="3"/>
          <dgm:bulletEnabled val="1"/>
        </dgm:presLayoutVars>
      </dgm:prSet>
      <dgm:spPr/>
    </dgm:pt>
    <dgm:pt modelId="{856E43E6-3D70-4376-AA4E-32C2946973DE}" type="pres">
      <dgm:prSet presAssocID="{EB6F8CBA-A29F-43D4-82F0-03B87713507D}" presName="childText1" presStyleLbl="solidAlignAcc1" presStyleIdx="0" presStyleCnt="3">
        <dgm:presLayoutVars>
          <dgm:chMax val="0"/>
          <dgm:chPref val="0"/>
          <dgm:bulletEnabled val="1"/>
        </dgm:presLayoutVars>
      </dgm:prSet>
      <dgm:spPr/>
    </dgm:pt>
    <dgm:pt modelId="{C30C58A0-B04E-452B-9322-CA41E936892C}" type="pres">
      <dgm:prSet presAssocID="{19696909-8C48-46BB-BC66-CAD5D98AD709}" presName="parentText2" presStyleLbl="node1" presStyleIdx="1" presStyleCnt="3">
        <dgm:presLayoutVars>
          <dgm:chMax/>
          <dgm:chPref val="3"/>
          <dgm:bulletEnabled val="1"/>
        </dgm:presLayoutVars>
      </dgm:prSet>
      <dgm:spPr/>
    </dgm:pt>
    <dgm:pt modelId="{3B15316A-54DA-4456-ADE2-E7F050C432BD}" type="pres">
      <dgm:prSet presAssocID="{19696909-8C48-46BB-BC66-CAD5D98AD709}" presName="childText2" presStyleLbl="solidAlignAcc1" presStyleIdx="1" presStyleCnt="3">
        <dgm:presLayoutVars>
          <dgm:chMax val="0"/>
          <dgm:chPref val="0"/>
          <dgm:bulletEnabled val="1"/>
        </dgm:presLayoutVars>
      </dgm:prSet>
      <dgm:spPr/>
    </dgm:pt>
    <dgm:pt modelId="{CCAB3F69-164F-45F2-B5B9-A78867DCEE16}" type="pres">
      <dgm:prSet presAssocID="{1C9B6F4F-F71B-47E5-A3F4-6A133EDDA7BF}" presName="parentText3" presStyleLbl="node1" presStyleIdx="2" presStyleCnt="3">
        <dgm:presLayoutVars>
          <dgm:chMax/>
          <dgm:chPref val="3"/>
          <dgm:bulletEnabled val="1"/>
        </dgm:presLayoutVars>
      </dgm:prSet>
      <dgm:spPr/>
    </dgm:pt>
    <dgm:pt modelId="{2E2CEF3C-DAE3-4606-B5A5-BCCA1CBCB380}" type="pres">
      <dgm:prSet presAssocID="{1C9B6F4F-F71B-47E5-A3F4-6A133EDDA7BF}" presName="childText3" presStyleLbl="solidAlignAcc1" presStyleIdx="2" presStyleCnt="3">
        <dgm:presLayoutVars>
          <dgm:chMax val="0"/>
          <dgm:chPref val="0"/>
          <dgm:bulletEnabled val="1"/>
        </dgm:presLayoutVars>
      </dgm:prSet>
      <dgm:spPr/>
    </dgm:pt>
  </dgm:ptLst>
  <dgm:cxnLst>
    <dgm:cxn modelId="{9F334A27-B4D7-4080-964B-7F66D26266D7}" type="presOf" srcId="{1C9B6F4F-F71B-47E5-A3F4-6A133EDDA7BF}" destId="{CCAB3F69-164F-45F2-B5B9-A78867DCEE16}" srcOrd="0" destOrd="0" presId="urn:microsoft.com/office/officeart/2009/3/layout/IncreasingArrowsProcess"/>
    <dgm:cxn modelId="{08E91F31-5CF3-4EEE-8C47-932A0DAADBC6}" srcId="{E4F7FC25-1B7F-409B-8CDB-AB80035AB426}" destId="{19696909-8C48-46BB-BC66-CAD5D98AD709}" srcOrd="1" destOrd="0" parTransId="{03B51307-9445-4544-9771-772629675289}" sibTransId="{16A7768E-8FFC-4FBE-9730-B00AEF21F663}"/>
    <dgm:cxn modelId="{532B4E34-E822-43E5-A218-C81D039BC82B}" srcId="{1C9B6F4F-F71B-47E5-A3F4-6A133EDDA7BF}" destId="{A550DE6B-60E9-42A4-BA24-09B99E04212B}" srcOrd="0" destOrd="0" parTransId="{F4CB9502-2D6C-47DA-A50D-94C4C749FB63}" sibTransId="{E57F40EC-C532-4728-B92E-A9224576F231}"/>
    <dgm:cxn modelId="{2D661D60-19D0-4A3E-94AD-DF2F4A78C866}" type="presOf" srcId="{3672533D-8F35-4A31-9BF1-7879BDF5BDBE}" destId="{3B15316A-54DA-4456-ADE2-E7F050C432BD}" srcOrd="0" destOrd="0" presId="urn:microsoft.com/office/officeart/2009/3/layout/IncreasingArrowsProcess"/>
    <dgm:cxn modelId="{53133862-D7A6-4B85-AF52-B8C2E70122D3}" type="presOf" srcId="{35E16B8E-CCE1-4695-8F2E-A526A427A356}" destId="{856E43E6-3D70-4376-AA4E-32C2946973DE}" srcOrd="0" destOrd="0" presId="urn:microsoft.com/office/officeart/2009/3/layout/IncreasingArrowsProcess"/>
    <dgm:cxn modelId="{A1D63A69-51C9-4145-AAAE-0C785AA55BD1}" srcId="{EB6F8CBA-A29F-43D4-82F0-03B87713507D}" destId="{BAD5FAA4-94A7-43CD-A735-B5C2D83937F6}" srcOrd="1" destOrd="0" parTransId="{890AC574-3A8B-4DB7-A9B9-3961565CB2B3}" sibTransId="{0BECE5CD-63A2-48B1-8B89-39D3C9C3BC75}"/>
    <dgm:cxn modelId="{98412E52-8A92-4ECE-809B-0547BFE6FB28}" type="presOf" srcId="{BAD5FAA4-94A7-43CD-A735-B5C2D83937F6}" destId="{856E43E6-3D70-4376-AA4E-32C2946973DE}" srcOrd="0" destOrd="1" presId="urn:microsoft.com/office/officeart/2009/3/layout/IncreasingArrowsProcess"/>
    <dgm:cxn modelId="{830DAA77-536E-40F8-9905-2573DD09F600}" srcId="{E4F7FC25-1B7F-409B-8CDB-AB80035AB426}" destId="{EB6F8CBA-A29F-43D4-82F0-03B87713507D}" srcOrd="0" destOrd="0" parTransId="{46587606-BE85-4879-980C-E311B005708F}" sibTransId="{20B777CD-0AE9-44DF-BBCF-960FAB4144E8}"/>
    <dgm:cxn modelId="{E42BCF80-003F-4418-B46A-6ACF6604D2CB}" srcId="{19696909-8C48-46BB-BC66-CAD5D98AD709}" destId="{3672533D-8F35-4A31-9BF1-7879BDF5BDBE}" srcOrd="0" destOrd="0" parTransId="{3895EC86-D6A3-43CD-A7C4-6BD72386C11D}" sibTransId="{AFCA6754-B92A-439F-86E3-B2D211B0C3DF}"/>
    <dgm:cxn modelId="{94EDDE8A-360C-46C9-9787-55C76A324F33}" type="presOf" srcId="{EB6F8CBA-A29F-43D4-82F0-03B87713507D}" destId="{5554142E-C32B-4E5F-9FFA-9D5E68938780}" srcOrd="0" destOrd="0" presId="urn:microsoft.com/office/officeart/2009/3/layout/IncreasingArrowsProcess"/>
    <dgm:cxn modelId="{55D28AB1-AB2D-49E8-A2FE-1C0EF3D09EB0}" type="presOf" srcId="{19696909-8C48-46BB-BC66-CAD5D98AD709}" destId="{C30C58A0-B04E-452B-9322-CA41E936892C}" srcOrd="0" destOrd="0" presId="urn:microsoft.com/office/officeart/2009/3/layout/IncreasingArrowsProcess"/>
    <dgm:cxn modelId="{8B23A8B1-2740-4F39-AF0B-77881DEE6323}" type="presOf" srcId="{A550DE6B-60E9-42A4-BA24-09B99E04212B}" destId="{2E2CEF3C-DAE3-4606-B5A5-BCCA1CBCB380}" srcOrd="0" destOrd="0" presId="urn:microsoft.com/office/officeart/2009/3/layout/IncreasingArrowsProcess"/>
    <dgm:cxn modelId="{653111CC-CEBE-429E-8ACD-32E0EEF6BC48}" srcId="{E4F7FC25-1B7F-409B-8CDB-AB80035AB426}" destId="{1C9B6F4F-F71B-47E5-A3F4-6A133EDDA7BF}" srcOrd="2" destOrd="0" parTransId="{A7B34D18-627D-4CC8-8188-C16385F270E3}" sibTransId="{7A8BE1AD-444B-452B-A70D-57AFCE99E04E}"/>
    <dgm:cxn modelId="{38CC1CD6-D8D9-46BC-A967-B18EF681256D}" srcId="{19696909-8C48-46BB-BC66-CAD5D98AD709}" destId="{BC7B1659-D774-458A-9AD5-FDBA0EB81088}" srcOrd="1" destOrd="0" parTransId="{2BDDA411-B270-4B2A-92DF-38174B25F00D}" sibTransId="{11EAC833-E84E-4845-AB88-2782780D0775}"/>
    <dgm:cxn modelId="{874DAEDC-EE6B-4123-94FC-A3A5B30819C5}" type="presOf" srcId="{E4F7FC25-1B7F-409B-8CDB-AB80035AB426}" destId="{0322A22A-B91F-42EC-AA50-5A3C2B1C1D58}" srcOrd="0" destOrd="0" presId="urn:microsoft.com/office/officeart/2009/3/layout/IncreasingArrowsProcess"/>
    <dgm:cxn modelId="{B3A579EB-CB65-4934-B360-A56676282321}" srcId="{EB6F8CBA-A29F-43D4-82F0-03B87713507D}" destId="{35E16B8E-CCE1-4695-8F2E-A526A427A356}" srcOrd="0" destOrd="0" parTransId="{43F7794A-95C8-43D7-A2AC-2DD7E3072162}" sibTransId="{6E5F8C0E-6D37-428E-A854-26612E21F81D}"/>
    <dgm:cxn modelId="{23159EF4-4231-4060-B2FC-96404A66FB10}" type="presOf" srcId="{BC7B1659-D774-458A-9AD5-FDBA0EB81088}" destId="{3B15316A-54DA-4456-ADE2-E7F050C432BD}" srcOrd="0" destOrd="1" presId="urn:microsoft.com/office/officeart/2009/3/layout/IncreasingArrowsProcess"/>
    <dgm:cxn modelId="{C02B4299-84D4-45D0-9F9B-02313864ED3D}" type="presParOf" srcId="{0322A22A-B91F-42EC-AA50-5A3C2B1C1D58}" destId="{5554142E-C32B-4E5F-9FFA-9D5E68938780}" srcOrd="0" destOrd="0" presId="urn:microsoft.com/office/officeart/2009/3/layout/IncreasingArrowsProcess"/>
    <dgm:cxn modelId="{F6FC4DC9-9016-44F9-A67D-2FBA38FDB251}" type="presParOf" srcId="{0322A22A-B91F-42EC-AA50-5A3C2B1C1D58}" destId="{856E43E6-3D70-4376-AA4E-32C2946973DE}" srcOrd="1" destOrd="0" presId="urn:microsoft.com/office/officeart/2009/3/layout/IncreasingArrowsProcess"/>
    <dgm:cxn modelId="{2D76E93D-0491-4749-92C9-2787E2C43A72}" type="presParOf" srcId="{0322A22A-B91F-42EC-AA50-5A3C2B1C1D58}" destId="{C30C58A0-B04E-452B-9322-CA41E936892C}" srcOrd="2" destOrd="0" presId="urn:microsoft.com/office/officeart/2009/3/layout/IncreasingArrowsProcess"/>
    <dgm:cxn modelId="{15B0135C-1BDE-4375-8EDB-30D89C2B1A5C}" type="presParOf" srcId="{0322A22A-B91F-42EC-AA50-5A3C2B1C1D58}" destId="{3B15316A-54DA-4456-ADE2-E7F050C432BD}" srcOrd="3" destOrd="0" presId="urn:microsoft.com/office/officeart/2009/3/layout/IncreasingArrowsProcess"/>
    <dgm:cxn modelId="{9E55D01E-996E-4644-AD10-DFB7AD9E2584}" type="presParOf" srcId="{0322A22A-B91F-42EC-AA50-5A3C2B1C1D58}" destId="{CCAB3F69-164F-45F2-B5B9-A78867DCEE16}" srcOrd="4" destOrd="0" presId="urn:microsoft.com/office/officeart/2009/3/layout/IncreasingArrowsProcess"/>
    <dgm:cxn modelId="{EAD66C9B-AFAC-4C95-9DD9-0C8A90431776}" type="presParOf" srcId="{0322A22A-B91F-42EC-AA50-5A3C2B1C1D58}" destId="{2E2CEF3C-DAE3-4606-B5A5-BCCA1CBCB380}" srcOrd="5" destOrd="0" presId="urn:microsoft.com/office/officeart/2009/3/layout/IncreasingArrowsProcess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881779E4-F6D9-48D7-8FB8-CB2BDDC08908}" type="doc">
      <dgm:prSet loTypeId="urn:microsoft.com/office/officeart/2005/8/layout/hierarchy2" loCatId="hierarchy" qsTypeId="urn:microsoft.com/office/officeart/2005/8/quickstyle/simple2" qsCatId="simple" csTypeId="urn:microsoft.com/office/officeart/2005/8/colors/accent3_1" csCatId="accent3" phldr="1"/>
      <dgm:spPr/>
      <dgm:t>
        <a:bodyPr/>
        <a:lstStyle/>
        <a:p>
          <a:endParaRPr lang="en-ZA"/>
        </a:p>
      </dgm:t>
    </dgm:pt>
    <dgm:pt modelId="{20F0F244-8A4D-40B3-8291-C4799234F425}">
      <dgm:prSet phldrT="[Text]" custT="1"/>
      <dgm:spPr>
        <a:xfrm>
          <a:off x="233340" y="2424116"/>
          <a:ext cx="1742683" cy="871341"/>
        </a:xfrm>
      </dgm:spPr>
      <dgm:t>
        <a:bodyPr/>
        <a:lstStyle/>
        <a:p>
          <a:r>
            <a:rPr lang="en-ZA" sz="16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Integrated support and solution for efficient  and economic service delivery </a:t>
          </a:r>
        </a:p>
      </dgm:t>
    </dgm:pt>
    <dgm:pt modelId="{08BAD210-BA6D-42C5-87F5-4268C56E9F21}" type="parTrans" cxnId="{4FC16DBF-5772-44AB-A81C-388C45399591}">
      <dgm:prSet/>
      <dgm:spPr/>
      <dgm:t>
        <a:bodyPr/>
        <a:lstStyle/>
        <a:p>
          <a:endParaRPr lang="en-ZA"/>
        </a:p>
      </dgm:t>
    </dgm:pt>
    <dgm:pt modelId="{3E4905E3-DDF6-4D83-9F0A-5D5D816EA587}" type="sibTrans" cxnId="{4FC16DBF-5772-44AB-A81C-388C45399591}">
      <dgm:prSet/>
      <dgm:spPr/>
      <dgm:t>
        <a:bodyPr/>
        <a:lstStyle/>
        <a:p>
          <a:endParaRPr lang="en-ZA"/>
        </a:p>
      </dgm:t>
    </dgm:pt>
    <dgm:pt modelId="{C02EED6D-A8B7-4F9E-92B3-3023A75769B1}">
      <dgm:prSet phldrT="[Text]" custT="1"/>
      <dgm:spPr>
        <a:xfrm>
          <a:off x="2523905" y="2424116"/>
          <a:ext cx="1742683" cy="871341"/>
        </a:xfrm>
      </dgm:spPr>
      <dgm:t>
        <a:bodyPr/>
        <a:lstStyle/>
        <a:p>
          <a:r>
            <a:rPr lang="en-ZA" sz="16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Build capacity to ensure value driven Correctional Services</a:t>
          </a:r>
        </a:p>
        <a:p>
          <a:endParaRPr lang="en-ZA" sz="1600" kern="1200" dirty="0">
            <a:solidFill>
              <a:schemeClr val="dk1">
                <a:hueOff val="0"/>
                <a:satOff val="0"/>
                <a:lumOff val="0"/>
                <a:alphaOff val="0"/>
              </a:schemeClr>
            </a:solidFill>
            <a:latin typeface="Arial Unicode MS" panose="020B0604020202020204" pitchFamily="34" charset="-128"/>
            <a:ea typeface="Arial Unicode MS" panose="020B0604020202020204" pitchFamily="34" charset="-128"/>
            <a:cs typeface="Arial Unicode MS" panose="020B0604020202020204" pitchFamily="34" charset="-128"/>
          </a:endParaRPr>
        </a:p>
        <a:p>
          <a:r>
            <a:rPr lang="en-ZA" sz="16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</a:t>
          </a:r>
        </a:p>
      </dgm:t>
    </dgm:pt>
    <dgm:pt modelId="{33C487AF-E27D-4567-9F55-D19F60BDB170}" type="parTrans" cxnId="{86339C19-994E-4BF0-A593-5AB174B6CA8B}">
      <dgm:prSet/>
      <dgm:spPr>
        <a:xfrm>
          <a:off x="1976023" y="2846076"/>
          <a:ext cx="547882" cy="27421"/>
        </a:xfrm>
      </dgm:spPr>
      <dgm:t>
        <a:bodyPr/>
        <a:lstStyle/>
        <a:p>
          <a:endParaRPr lang="en-ZA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E5654BE-583E-4A3B-8463-2DCCC735CE86}" type="sibTrans" cxnId="{86339C19-994E-4BF0-A593-5AB174B6CA8B}">
      <dgm:prSet/>
      <dgm:spPr/>
      <dgm:t>
        <a:bodyPr/>
        <a:lstStyle/>
        <a:p>
          <a:endParaRPr lang="en-ZA"/>
        </a:p>
      </dgm:t>
    </dgm:pt>
    <dgm:pt modelId="{7A4948D0-9C29-471B-87B1-C829CFAA350B}">
      <dgm:prSet custT="1"/>
      <dgm:spPr>
        <a:xfrm>
          <a:off x="4883114" y="1923095"/>
          <a:ext cx="1742683" cy="871341"/>
        </a:xfrm>
      </dgm:spPr>
      <dgm:t>
        <a:bodyPr/>
        <a:lstStyle/>
        <a:p>
          <a:r>
            <a:rPr lang="en-ZA" sz="16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Consistent clean administration and reliable financial reporting</a:t>
          </a:r>
        </a:p>
      </dgm:t>
    </dgm:pt>
    <dgm:pt modelId="{28948F3D-43E8-43EB-8A1A-38248E4E539D}" type="parTrans" cxnId="{0A07B529-41FF-4B30-BA28-984C8C53F170}">
      <dgm:prSet/>
      <dgm:spPr>
        <a:xfrm rot="19254054">
          <a:off x="4177633" y="2595565"/>
          <a:ext cx="794435" cy="27421"/>
        </a:xfrm>
      </dgm:spPr>
      <dgm:t>
        <a:bodyPr/>
        <a:lstStyle/>
        <a:p>
          <a:endParaRPr lang="en-ZA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BF7F964B-93AD-46D8-A749-ADA423B674ED}" type="sibTrans" cxnId="{0A07B529-41FF-4B30-BA28-984C8C53F170}">
      <dgm:prSet/>
      <dgm:spPr/>
      <dgm:t>
        <a:bodyPr/>
        <a:lstStyle/>
        <a:p>
          <a:endParaRPr lang="en-ZA"/>
        </a:p>
      </dgm:t>
    </dgm:pt>
    <dgm:pt modelId="{41BEA329-896A-4A78-AC41-498D98371ACD}">
      <dgm:prSet custT="1"/>
      <dgm:spPr>
        <a:xfrm>
          <a:off x="4883114" y="2925138"/>
          <a:ext cx="1742683" cy="871341"/>
        </a:xfrm>
      </dgm:spPr>
      <dgm:t>
        <a:bodyPr/>
        <a:lstStyle/>
        <a:p>
          <a:r>
            <a:rPr lang="en-ZA" sz="16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Improved productivity and self sufficiency</a:t>
          </a:r>
        </a:p>
      </dgm:t>
    </dgm:pt>
    <dgm:pt modelId="{BCFFA13F-26B4-4005-B867-27F956CAA094}" type="parTrans" cxnId="{7CF5FE8B-AF87-45BD-A42E-58291CA41DD1}">
      <dgm:prSet/>
      <dgm:spPr>
        <a:xfrm rot="2345946">
          <a:off x="4177633" y="3096587"/>
          <a:ext cx="794435" cy="27421"/>
        </a:xfrm>
      </dgm:spPr>
      <dgm:t>
        <a:bodyPr/>
        <a:lstStyle/>
        <a:p>
          <a:endParaRPr lang="en-ZA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58410083-A12D-4AAB-936E-FB41E77E8DB5}" type="sibTrans" cxnId="{7CF5FE8B-AF87-45BD-A42E-58291CA41DD1}">
      <dgm:prSet/>
      <dgm:spPr/>
      <dgm:t>
        <a:bodyPr/>
        <a:lstStyle/>
        <a:p>
          <a:endParaRPr lang="en-ZA"/>
        </a:p>
      </dgm:t>
    </dgm:pt>
    <dgm:pt modelId="{D17BFF15-F469-450A-BE93-B04123CCC99E}" type="pres">
      <dgm:prSet presAssocID="{881779E4-F6D9-48D7-8FB8-CB2BDDC08908}" presName="diagram" presStyleCnt="0">
        <dgm:presLayoutVars>
          <dgm:chPref val="1"/>
          <dgm:dir/>
          <dgm:animOne val="branch"/>
          <dgm:animLvl val="lvl"/>
          <dgm:resizeHandles val="exact"/>
        </dgm:presLayoutVars>
      </dgm:prSet>
      <dgm:spPr/>
    </dgm:pt>
    <dgm:pt modelId="{235628BE-2AF4-4FD1-B4DB-76E88AF7A130}" type="pres">
      <dgm:prSet presAssocID="{20F0F244-8A4D-40B3-8291-C4799234F425}" presName="root1" presStyleCnt="0"/>
      <dgm:spPr/>
    </dgm:pt>
    <dgm:pt modelId="{B5BE1993-DE2F-4A51-8D77-D9DF03A10228}" type="pres">
      <dgm:prSet presAssocID="{20F0F244-8A4D-40B3-8291-C4799234F425}" presName="LevelOneTextNode" presStyleLbl="node0" presStyleIdx="0" presStyleCnt="1" custScaleY="234515" custLinFactNeighborX="13183" custLinFactNeighborY="10004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82B930AE-E3CE-4040-9A46-2F0B78280E54}" type="pres">
      <dgm:prSet presAssocID="{20F0F244-8A4D-40B3-8291-C4799234F425}" presName="level2hierChild" presStyleCnt="0"/>
      <dgm:spPr/>
    </dgm:pt>
    <dgm:pt modelId="{806624F1-247C-4B18-98B2-C7420405EA0A}" type="pres">
      <dgm:prSet presAssocID="{33C487AF-E27D-4567-9F55-D19F60BDB170}" presName="conn2-1" presStyleLbl="parChTrans1D2" presStyleIdx="0" presStyleCnt="1"/>
      <dgm:spPr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547882" y="13710"/>
              </a:lnTo>
            </a:path>
          </a:pathLst>
        </a:custGeom>
      </dgm:spPr>
    </dgm:pt>
    <dgm:pt modelId="{50470530-08AF-4AF3-BE2B-110E99E28E68}" type="pres">
      <dgm:prSet presAssocID="{33C487AF-E27D-4567-9F55-D19F60BDB170}" presName="connTx" presStyleLbl="parChTrans1D2" presStyleIdx="0" presStyleCnt="1"/>
      <dgm:spPr/>
    </dgm:pt>
    <dgm:pt modelId="{59737DA6-DC62-4140-A2D2-C8CFEA603EDB}" type="pres">
      <dgm:prSet presAssocID="{C02EED6D-A8B7-4F9E-92B3-3023A75769B1}" presName="root2" presStyleCnt="0"/>
      <dgm:spPr/>
    </dgm:pt>
    <dgm:pt modelId="{700750EF-DCA2-44E7-A8F6-8722B98CA86B}" type="pres">
      <dgm:prSet presAssocID="{C02EED6D-A8B7-4F9E-92B3-3023A75769B1}" presName="LevelTwoTextNode" presStyleLbl="node2" presStyleIdx="0" presStyleCnt="1" custScaleY="398392" custLinFactNeighborX="4622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88852E6A-98CD-4632-B618-9D174C1917FB}" type="pres">
      <dgm:prSet presAssocID="{C02EED6D-A8B7-4F9E-92B3-3023A75769B1}" presName="level3hierChild" presStyleCnt="0"/>
      <dgm:spPr/>
    </dgm:pt>
    <dgm:pt modelId="{3A0F5D64-518A-4350-B9E9-C42320A5B686}" type="pres">
      <dgm:prSet presAssocID="{28948F3D-43E8-43EB-8A1A-38248E4E539D}" presName="conn2-1" presStyleLbl="parChTrans1D3" presStyleIdx="0" presStyleCnt="2"/>
      <dgm:spPr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794435" y="13710"/>
              </a:lnTo>
            </a:path>
          </a:pathLst>
        </a:custGeom>
      </dgm:spPr>
    </dgm:pt>
    <dgm:pt modelId="{09EFA9F9-F99C-4F23-8B39-6412BD28426D}" type="pres">
      <dgm:prSet presAssocID="{28948F3D-43E8-43EB-8A1A-38248E4E539D}" presName="connTx" presStyleLbl="parChTrans1D3" presStyleIdx="0" presStyleCnt="2"/>
      <dgm:spPr/>
    </dgm:pt>
    <dgm:pt modelId="{862D8BE0-6D48-4291-8E6C-261FD74FC528}" type="pres">
      <dgm:prSet presAssocID="{7A4948D0-9C29-471B-87B1-C829CFAA350B}" presName="root2" presStyleCnt="0"/>
      <dgm:spPr/>
    </dgm:pt>
    <dgm:pt modelId="{E57721BD-D99F-4BCC-BEB3-1297D5C323E0}" type="pres">
      <dgm:prSet presAssocID="{7A4948D0-9C29-471B-87B1-C829CFAA350B}" presName="LevelTwoTextNode" presStyleLbl="node3" presStyleIdx="0" presStyleCnt="2" custScaleY="181789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B32B6CDA-E203-4D0D-824D-DA3CFFDD0E99}" type="pres">
      <dgm:prSet presAssocID="{7A4948D0-9C29-471B-87B1-C829CFAA350B}" presName="level3hierChild" presStyleCnt="0"/>
      <dgm:spPr/>
    </dgm:pt>
    <dgm:pt modelId="{ACCF4CD0-F9FF-4370-A691-0715E7AAB44F}" type="pres">
      <dgm:prSet presAssocID="{BCFFA13F-26B4-4005-B867-27F956CAA094}" presName="conn2-1" presStyleLbl="parChTrans1D3" presStyleIdx="1" presStyleCnt="2"/>
      <dgm:spPr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794435" y="13710"/>
              </a:lnTo>
            </a:path>
          </a:pathLst>
        </a:custGeom>
      </dgm:spPr>
    </dgm:pt>
    <dgm:pt modelId="{F502CA11-8A99-4DFD-8890-1F220A4853F0}" type="pres">
      <dgm:prSet presAssocID="{BCFFA13F-26B4-4005-B867-27F956CAA094}" presName="connTx" presStyleLbl="parChTrans1D3" presStyleIdx="1" presStyleCnt="2"/>
      <dgm:spPr/>
    </dgm:pt>
    <dgm:pt modelId="{4726C162-9BDD-41C6-92E8-299A2BC4E607}" type="pres">
      <dgm:prSet presAssocID="{41BEA329-896A-4A78-AC41-498D98371ACD}" presName="root2" presStyleCnt="0"/>
      <dgm:spPr/>
    </dgm:pt>
    <dgm:pt modelId="{CC82D747-28E6-4311-BA1A-378E1CDE55D5}" type="pres">
      <dgm:prSet presAssocID="{41BEA329-896A-4A78-AC41-498D98371ACD}" presName="LevelTwoTextNode" presStyleLbl="node3" presStyleIdx="1" presStyleCnt="2" custScaleY="181789" custLinFactNeighborY="2970">
        <dgm:presLayoutVars>
          <dgm:chPref val="3"/>
        </dgm:presLayoutVars>
      </dgm:prSet>
      <dgm:spPr>
        <a:prstGeom prst="roundRect">
          <a:avLst>
            <a:gd name="adj" fmla="val 10000"/>
          </a:avLst>
        </a:prstGeom>
      </dgm:spPr>
    </dgm:pt>
    <dgm:pt modelId="{C7A14819-F468-496E-941F-C11A83096207}" type="pres">
      <dgm:prSet presAssocID="{41BEA329-896A-4A78-AC41-498D98371ACD}" presName="level3hierChild" presStyleCnt="0"/>
      <dgm:spPr/>
    </dgm:pt>
  </dgm:ptLst>
  <dgm:cxnLst>
    <dgm:cxn modelId="{C64C140F-6445-46B8-BCEE-9298CB423D1F}" type="presOf" srcId="{33C487AF-E27D-4567-9F55-D19F60BDB170}" destId="{806624F1-247C-4B18-98B2-C7420405EA0A}" srcOrd="0" destOrd="0" presId="urn:microsoft.com/office/officeart/2005/8/layout/hierarchy2"/>
    <dgm:cxn modelId="{86339C19-994E-4BF0-A593-5AB174B6CA8B}" srcId="{20F0F244-8A4D-40B3-8291-C4799234F425}" destId="{C02EED6D-A8B7-4F9E-92B3-3023A75769B1}" srcOrd="0" destOrd="0" parTransId="{33C487AF-E27D-4567-9F55-D19F60BDB170}" sibTransId="{0E5654BE-583E-4A3B-8463-2DCCC735CE86}"/>
    <dgm:cxn modelId="{0A07B529-41FF-4B30-BA28-984C8C53F170}" srcId="{C02EED6D-A8B7-4F9E-92B3-3023A75769B1}" destId="{7A4948D0-9C29-471B-87B1-C829CFAA350B}" srcOrd="0" destOrd="0" parTransId="{28948F3D-43E8-43EB-8A1A-38248E4E539D}" sibTransId="{BF7F964B-93AD-46D8-A749-ADA423B674ED}"/>
    <dgm:cxn modelId="{F44DCE39-3DBD-4775-9EAD-DA80C0240F77}" type="presOf" srcId="{881779E4-F6D9-48D7-8FB8-CB2BDDC08908}" destId="{D17BFF15-F469-450A-BE93-B04123CCC99E}" srcOrd="0" destOrd="0" presId="urn:microsoft.com/office/officeart/2005/8/layout/hierarchy2"/>
    <dgm:cxn modelId="{DFA5665B-CCB2-4B6E-9396-6C78421140A0}" type="presOf" srcId="{28948F3D-43E8-43EB-8A1A-38248E4E539D}" destId="{09EFA9F9-F99C-4F23-8B39-6412BD28426D}" srcOrd="1" destOrd="0" presId="urn:microsoft.com/office/officeart/2005/8/layout/hierarchy2"/>
    <dgm:cxn modelId="{BDFA015D-B8D7-4983-9060-E6656638F4EF}" type="presOf" srcId="{41BEA329-896A-4A78-AC41-498D98371ACD}" destId="{CC82D747-28E6-4311-BA1A-378E1CDE55D5}" srcOrd="0" destOrd="0" presId="urn:microsoft.com/office/officeart/2005/8/layout/hierarchy2"/>
    <dgm:cxn modelId="{1FEE055E-ECDF-464A-AAA1-33BDB11E55F0}" type="presOf" srcId="{BCFFA13F-26B4-4005-B867-27F956CAA094}" destId="{ACCF4CD0-F9FF-4370-A691-0715E7AAB44F}" srcOrd="0" destOrd="0" presId="urn:microsoft.com/office/officeart/2005/8/layout/hierarchy2"/>
    <dgm:cxn modelId="{0A0C0166-735F-4E5F-8A55-B93C2D766C0C}" type="presOf" srcId="{7A4948D0-9C29-471B-87B1-C829CFAA350B}" destId="{E57721BD-D99F-4BCC-BEB3-1297D5C323E0}" srcOrd="0" destOrd="0" presId="urn:microsoft.com/office/officeart/2005/8/layout/hierarchy2"/>
    <dgm:cxn modelId="{1758DB47-2934-4029-AEE8-69BA7B32878E}" type="presOf" srcId="{C02EED6D-A8B7-4F9E-92B3-3023A75769B1}" destId="{700750EF-DCA2-44E7-A8F6-8722B98CA86B}" srcOrd="0" destOrd="0" presId="urn:microsoft.com/office/officeart/2005/8/layout/hierarchy2"/>
    <dgm:cxn modelId="{4AF0154C-489C-4C30-A565-13332AA7088E}" type="presOf" srcId="{20F0F244-8A4D-40B3-8291-C4799234F425}" destId="{B5BE1993-DE2F-4A51-8D77-D9DF03A10228}" srcOrd="0" destOrd="0" presId="urn:microsoft.com/office/officeart/2005/8/layout/hierarchy2"/>
    <dgm:cxn modelId="{9192415A-0724-40FB-8F88-55291EB986E2}" type="presOf" srcId="{28948F3D-43E8-43EB-8A1A-38248E4E539D}" destId="{3A0F5D64-518A-4350-B9E9-C42320A5B686}" srcOrd="0" destOrd="0" presId="urn:microsoft.com/office/officeart/2005/8/layout/hierarchy2"/>
    <dgm:cxn modelId="{7CF5FE8B-AF87-45BD-A42E-58291CA41DD1}" srcId="{C02EED6D-A8B7-4F9E-92B3-3023A75769B1}" destId="{41BEA329-896A-4A78-AC41-498D98371ACD}" srcOrd="1" destOrd="0" parTransId="{BCFFA13F-26B4-4005-B867-27F956CAA094}" sibTransId="{58410083-A12D-4AAB-936E-FB41E77E8DB5}"/>
    <dgm:cxn modelId="{23035691-9925-409B-B5E0-D196929CB2A3}" type="presOf" srcId="{BCFFA13F-26B4-4005-B867-27F956CAA094}" destId="{F502CA11-8A99-4DFD-8890-1F220A4853F0}" srcOrd="1" destOrd="0" presId="urn:microsoft.com/office/officeart/2005/8/layout/hierarchy2"/>
    <dgm:cxn modelId="{4FC16DBF-5772-44AB-A81C-388C45399591}" srcId="{881779E4-F6D9-48D7-8FB8-CB2BDDC08908}" destId="{20F0F244-8A4D-40B3-8291-C4799234F425}" srcOrd="0" destOrd="0" parTransId="{08BAD210-BA6D-42C5-87F5-4268C56E9F21}" sibTransId="{3E4905E3-DDF6-4D83-9F0A-5D5D816EA587}"/>
    <dgm:cxn modelId="{0AC5E1D5-5728-4A5B-9133-2C8C04C4974D}" type="presOf" srcId="{33C487AF-E27D-4567-9F55-D19F60BDB170}" destId="{50470530-08AF-4AF3-BE2B-110E99E28E68}" srcOrd="1" destOrd="0" presId="urn:microsoft.com/office/officeart/2005/8/layout/hierarchy2"/>
    <dgm:cxn modelId="{C2371568-9A12-41A9-9B26-EA2FDE4B37B0}" type="presParOf" srcId="{D17BFF15-F469-450A-BE93-B04123CCC99E}" destId="{235628BE-2AF4-4FD1-B4DB-76E88AF7A130}" srcOrd="0" destOrd="0" presId="urn:microsoft.com/office/officeart/2005/8/layout/hierarchy2"/>
    <dgm:cxn modelId="{0FC0340B-8666-4124-A8F9-35D91D00A67E}" type="presParOf" srcId="{235628BE-2AF4-4FD1-B4DB-76E88AF7A130}" destId="{B5BE1993-DE2F-4A51-8D77-D9DF03A10228}" srcOrd="0" destOrd="0" presId="urn:microsoft.com/office/officeart/2005/8/layout/hierarchy2"/>
    <dgm:cxn modelId="{77758C20-D2F9-441C-BAB8-F92FD597D6D6}" type="presParOf" srcId="{235628BE-2AF4-4FD1-B4DB-76E88AF7A130}" destId="{82B930AE-E3CE-4040-9A46-2F0B78280E54}" srcOrd="1" destOrd="0" presId="urn:microsoft.com/office/officeart/2005/8/layout/hierarchy2"/>
    <dgm:cxn modelId="{FA25A40D-2693-4B62-A497-DB5C86E38268}" type="presParOf" srcId="{82B930AE-E3CE-4040-9A46-2F0B78280E54}" destId="{806624F1-247C-4B18-98B2-C7420405EA0A}" srcOrd="0" destOrd="0" presId="urn:microsoft.com/office/officeart/2005/8/layout/hierarchy2"/>
    <dgm:cxn modelId="{D1A7AD9E-6A80-4BFC-B6BA-A97739E94788}" type="presParOf" srcId="{806624F1-247C-4B18-98B2-C7420405EA0A}" destId="{50470530-08AF-4AF3-BE2B-110E99E28E68}" srcOrd="0" destOrd="0" presId="urn:microsoft.com/office/officeart/2005/8/layout/hierarchy2"/>
    <dgm:cxn modelId="{4E170379-A44D-4332-8586-59B9A99E4A65}" type="presParOf" srcId="{82B930AE-E3CE-4040-9A46-2F0B78280E54}" destId="{59737DA6-DC62-4140-A2D2-C8CFEA603EDB}" srcOrd="1" destOrd="0" presId="urn:microsoft.com/office/officeart/2005/8/layout/hierarchy2"/>
    <dgm:cxn modelId="{B36D89FE-80C5-484D-A87A-CC260964E555}" type="presParOf" srcId="{59737DA6-DC62-4140-A2D2-C8CFEA603EDB}" destId="{700750EF-DCA2-44E7-A8F6-8722B98CA86B}" srcOrd="0" destOrd="0" presId="urn:microsoft.com/office/officeart/2005/8/layout/hierarchy2"/>
    <dgm:cxn modelId="{66CF2D6F-C842-4DAF-9EA9-813D9F8E27E3}" type="presParOf" srcId="{59737DA6-DC62-4140-A2D2-C8CFEA603EDB}" destId="{88852E6A-98CD-4632-B618-9D174C1917FB}" srcOrd="1" destOrd="0" presId="urn:microsoft.com/office/officeart/2005/8/layout/hierarchy2"/>
    <dgm:cxn modelId="{A860F4DD-5121-471D-9256-8C40CCBA8400}" type="presParOf" srcId="{88852E6A-98CD-4632-B618-9D174C1917FB}" destId="{3A0F5D64-518A-4350-B9E9-C42320A5B686}" srcOrd="0" destOrd="0" presId="urn:microsoft.com/office/officeart/2005/8/layout/hierarchy2"/>
    <dgm:cxn modelId="{32892161-1909-4C2F-8D04-2C48E253EC5A}" type="presParOf" srcId="{3A0F5D64-518A-4350-B9E9-C42320A5B686}" destId="{09EFA9F9-F99C-4F23-8B39-6412BD28426D}" srcOrd="0" destOrd="0" presId="urn:microsoft.com/office/officeart/2005/8/layout/hierarchy2"/>
    <dgm:cxn modelId="{57094EA3-623D-47EB-9FDA-EC49A57F285E}" type="presParOf" srcId="{88852E6A-98CD-4632-B618-9D174C1917FB}" destId="{862D8BE0-6D48-4291-8E6C-261FD74FC528}" srcOrd="1" destOrd="0" presId="urn:microsoft.com/office/officeart/2005/8/layout/hierarchy2"/>
    <dgm:cxn modelId="{A644D7A6-6824-419B-BC88-33D69BDE77F0}" type="presParOf" srcId="{862D8BE0-6D48-4291-8E6C-261FD74FC528}" destId="{E57721BD-D99F-4BCC-BEB3-1297D5C323E0}" srcOrd="0" destOrd="0" presId="urn:microsoft.com/office/officeart/2005/8/layout/hierarchy2"/>
    <dgm:cxn modelId="{7142AE19-3705-4C62-8A0F-474DFE21B041}" type="presParOf" srcId="{862D8BE0-6D48-4291-8E6C-261FD74FC528}" destId="{B32B6CDA-E203-4D0D-824D-DA3CFFDD0E99}" srcOrd="1" destOrd="0" presId="urn:microsoft.com/office/officeart/2005/8/layout/hierarchy2"/>
    <dgm:cxn modelId="{6981FB27-7620-4588-A603-B11A768E0100}" type="presParOf" srcId="{88852E6A-98CD-4632-B618-9D174C1917FB}" destId="{ACCF4CD0-F9FF-4370-A691-0715E7AAB44F}" srcOrd="2" destOrd="0" presId="urn:microsoft.com/office/officeart/2005/8/layout/hierarchy2"/>
    <dgm:cxn modelId="{9B55EE6F-6ED1-4457-AC58-C8A0443F8533}" type="presParOf" srcId="{ACCF4CD0-F9FF-4370-A691-0715E7AAB44F}" destId="{F502CA11-8A99-4DFD-8890-1F220A4853F0}" srcOrd="0" destOrd="0" presId="urn:microsoft.com/office/officeart/2005/8/layout/hierarchy2"/>
    <dgm:cxn modelId="{03CA8A87-7E22-4E34-BEA4-EDDEFDC770DB}" type="presParOf" srcId="{88852E6A-98CD-4632-B618-9D174C1917FB}" destId="{4726C162-9BDD-41C6-92E8-299A2BC4E607}" srcOrd="3" destOrd="0" presId="urn:microsoft.com/office/officeart/2005/8/layout/hierarchy2"/>
    <dgm:cxn modelId="{B3D0EBBC-CD92-48FB-8548-760C968DD163}" type="presParOf" srcId="{4726C162-9BDD-41C6-92E8-299A2BC4E607}" destId="{CC82D747-28E6-4311-BA1A-378E1CDE55D5}" srcOrd="0" destOrd="0" presId="urn:microsoft.com/office/officeart/2005/8/layout/hierarchy2"/>
    <dgm:cxn modelId="{3D824AD4-FD09-4CA5-8484-DF15E6920A73}" type="presParOf" srcId="{4726C162-9BDD-41C6-92E8-299A2BC4E607}" destId="{C7A14819-F468-496E-941F-C11A83096207}" srcOrd="1" destOrd="0" presId="urn:microsoft.com/office/officeart/2005/8/layout/hierarchy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5A4EBD29-9BDB-4410-B5A3-C93C45ECDCCA}" type="doc">
      <dgm:prSet loTypeId="urn:microsoft.com/office/officeart/2005/8/layout/chevron1" loCatId="process" qsTypeId="urn:microsoft.com/office/officeart/2005/8/quickstyle/simple5" qsCatId="simple" csTypeId="urn:microsoft.com/office/officeart/2005/8/colors/accent3_2" csCatId="accent3" phldr="1"/>
      <dgm:spPr/>
    </dgm:pt>
    <dgm:pt modelId="{B55F6B3D-7746-48EE-B5B3-3A8ACF91F9E7}">
      <dgm:prSet phldrT="[Text]"/>
      <dgm:spPr>
        <a:xfrm>
          <a:off x="4241" y="0"/>
          <a:ext cx="2469058" cy="408158"/>
        </a:xfrm>
      </dgm:spPr>
      <dgm:t>
        <a:bodyPr/>
        <a:lstStyle/>
        <a:p>
          <a:r>
            <a:rPr lang="en-ZA" dirty="0">
              <a:solidFill>
                <a:schemeClr val="tx1"/>
              </a:solidFill>
              <a:latin typeface="Calibri"/>
              <a:ea typeface="+mn-ea"/>
              <a:cs typeface="+mn-cs"/>
            </a:rPr>
            <a:t>Impact (Impact Statement)</a:t>
          </a:r>
        </a:p>
      </dgm:t>
    </dgm:pt>
    <dgm:pt modelId="{A208254B-0DDD-4696-9EEC-242775112F79}" type="parTrans" cxnId="{ED689DDA-D6E1-4C9D-87AE-9EB8976FEA7C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D686B98D-58FB-406C-9034-9447D5FD71C6}" type="sibTrans" cxnId="{ED689DDA-D6E1-4C9D-87AE-9EB8976FEA7C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A5405A81-8DD7-45E5-9221-8CEB3D1CA633}">
      <dgm:prSet phldrT="[Text]"/>
      <dgm:spPr>
        <a:xfrm>
          <a:off x="2226394" y="0"/>
          <a:ext cx="2469058" cy="408158"/>
        </a:xfrm>
      </dgm:spPr>
      <dgm:t>
        <a:bodyPr/>
        <a:lstStyle/>
        <a:p>
          <a:r>
            <a:rPr lang="en-ZA" dirty="0">
              <a:solidFill>
                <a:schemeClr val="tx1"/>
              </a:solidFill>
              <a:latin typeface="Calibri"/>
              <a:ea typeface="+mn-ea"/>
              <a:cs typeface="+mn-cs"/>
            </a:rPr>
            <a:t>Outcome (5 year target)</a:t>
          </a:r>
        </a:p>
      </dgm:t>
    </dgm:pt>
    <dgm:pt modelId="{0720EFD5-880C-413E-9507-F36C419877A2}" type="parTrans" cxnId="{9D20673A-9DF6-47FC-BF38-7D75D2CE96E9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C9ED9D56-56EF-4F06-A6A8-5ED94C400346}" type="sibTrans" cxnId="{9D20673A-9DF6-47FC-BF38-7D75D2CE96E9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8FD5EE27-EEA5-4F7D-9768-110820E6ACFE}">
      <dgm:prSet phldrT="[Text]"/>
      <dgm:spPr>
        <a:xfrm>
          <a:off x="4448547" y="0"/>
          <a:ext cx="2469058" cy="408158"/>
        </a:xfrm>
      </dgm:spPr>
      <dgm:t>
        <a:bodyPr/>
        <a:lstStyle/>
        <a:p>
          <a:r>
            <a:rPr lang="en-ZA" dirty="0">
              <a:solidFill>
                <a:schemeClr val="tx1"/>
              </a:solidFill>
              <a:latin typeface="Calibri"/>
              <a:ea typeface="+mn-ea"/>
              <a:cs typeface="+mn-cs"/>
            </a:rPr>
            <a:t>Primary Outputs (KPI’S)</a:t>
          </a:r>
        </a:p>
      </dgm:t>
    </dgm:pt>
    <dgm:pt modelId="{B9D090CF-5114-4F81-A477-1D0A07B3AE22}" type="parTrans" cxnId="{E42A57ED-8F88-47D9-A998-A2735410C5A7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9BC49193-A35C-47A1-84E1-FE567320C6A9}" type="sibTrans" cxnId="{E42A57ED-8F88-47D9-A998-A2735410C5A7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EF1A6440-C633-4BB6-96E5-40D65B8BBB63}">
      <dgm:prSet phldrT="[Text]"/>
      <dgm:spPr>
        <a:xfrm>
          <a:off x="6674941" y="0"/>
          <a:ext cx="2469058" cy="408158"/>
        </a:xfrm>
      </dgm:spPr>
      <dgm:t>
        <a:bodyPr/>
        <a:lstStyle/>
        <a:p>
          <a:r>
            <a:rPr lang="en-ZA" dirty="0">
              <a:solidFill>
                <a:schemeClr val="tx1"/>
              </a:solidFill>
              <a:latin typeface="Calibri"/>
              <a:ea typeface="+mn-ea"/>
              <a:cs typeface="+mn-cs"/>
            </a:rPr>
            <a:t>Secondary Outputs (AOP)</a:t>
          </a:r>
        </a:p>
      </dgm:t>
    </dgm:pt>
    <dgm:pt modelId="{DCED5FB0-56B2-4A52-AF3C-629E7756F398}" type="parTrans" cxnId="{E64F0AFB-1957-496E-8EFE-8515FBECE9E4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E243EE48-5539-47D5-97B3-D254260051EB}" type="sibTrans" cxnId="{E64F0AFB-1957-496E-8EFE-8515FBECE9E4}">
      <dgm:prSet/>
      <dgm:spPr/>
      <dgm:t>
        <a:bodyPr/>
        <a:lstStyle/>
        <a:p>
          <a:endParaRPr lang="en-ZA">
            <a:solidFill>
              <a:schemeClr val="tx1"/>
            </a:solidFill>
          </a:endParaRPr>
        </a:p>
      </dgm:t>
    </dgm:pt>
    <dgm:pt modelId="{7E95E91A-77C9-480C-9DF5-36A9800DE5FD}" type="pres">
      <dgm:prSet presAssocID="{5A4EBD29-9BDB-4410-B5A3-C93C45ECDCCA}" presName="Name0" presStyleCnt="0">
        <dgm:presLayoutVars>
          <dgm:dir/>
          <dgm:animLvl val="lvl"/>
          <dgm:resizeHandles val="exact"/>
        </dgm:presLayoutVars>
      </dgm:prSet>
      <dgm:spPr/>
    </dgm:pt>
    <dgm:pt modelId="{262BE795-9EDB-44E2-96BB-62343E1E77CA}" type="pres">
      <dgm:prSet presAssocID="{B55F6B3D-7746-48EE-B5B3-3A8ACF91F9E7}" presName="parTxOnly" presStyleLbl="node1" presStyleIdx="0" presStyleCnt="4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</dgm:pt>
    <dgm:pt modelId="{54CFF9C2-0D0A-4481-B27F-65E1272CE003}" type="pres">
      <dgm:prSet presAssocID="{D686B98D-58FB-406C-9034-9447D5FD71C6}" presName="parTxOnlySpace" presStyleCnt="0"/>
      <dgm:spPr/>
    </dgm:pt>
    <dgm:pt modelId="{725E6417-0418-43C0-891F-EE405BDC9D2D}" type="pres">
      <dgm:prSet presAssocID="{A5405A81-8DD7-45E5-9221-8CEB3D1CA633}" presName="parTxOnly" presStyleLbl="node1" presStyleIdx="1" presStyleCnt="4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</dgm:pt>
    <dgm:pt modelId="{9D115F0D-9052-4C85-9C1C-B341DDFC46D7}" type="pres">
      <dgm:prSet presAssocID="{C9ED9D56-56EF-4F06-A6A8-5ED94C400346}" presName="parTxOnlySpace" presStyleCnt="0"/>
      <dgm:spPr/>
    </dgm:pt>
    <dgm:pt modelId="{9654805B-6471-444A-A5C9-497929093079}" type="pres">
      <dgm:prSet presAssocID="{8FD5EE27-EEA5-4F7D-9768-110820E6ACFE}" presName="parTxOnly" presStyleLbl="node1" presStyleIdx="2" presStyleCnt="4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</dgm:pt>
    <dgm:pt modelId="{B595F69F-E1B9-4C42-AE00-88723C2E3538}" type="pres">
      <dgm:prSet presAssocID="{9BC49193-A35C-47A1-84E1-FE567320C6A9}" presName="parTxOnlySpace" presStyleCnt="0"/>
      <dgm:spPr/>
    </dgm:pt>
    <dgm:pt modelId="{670DF4D6-AE9E-4D6D-B49B-3109C6E846F7}" type="pres">
      <dgm:prSet presAssocID="{EF1A6440-C633-4BB6-96E5-40D65B8BBB63}" presName="parTxOnly" presStyleLbl="node1" presStyleIdx="3" presStyleCnt="4" custLinFactNeighborX="1718" custLinFactNeighborY="74826">
        <dgm:presLayoutVars>
          <dgm:chMax val="0"/>
          <dgm:chPref val="0"/>
          <dgm:bulletEnabled val="1"/>
        </dgm:presLayoutVars>
      </dgm:prSet>
      <dgm:spPr>
        <a:prstGeom prst="chevron">
          <a:avLst/>
        </a:prstGeom>
      </dgm:spPr>
    </dgm:pt>
  </dgm:ptLst>
  <dgm:cxnLst>
    <dgm:cxn modelId="{B2B43828-7282-4354-8CE6-FA10F6CFD93C}" type="presOf" srcId="{8FD5EE27-EEA5-4F7D-9768-110820E6ACFE}" destId="{9654805B-6471-444A-A5C9-497929093079}" srcOrd="0" destOrd="0" presId="urn:microsoft.com/office/officeart/2005/8/layout/chevron1"/>
    <dgm:cxn modelId="{9D20673A-9DF6-47FC-BF38-7D75D2CE96E9}" srcId="{5A4EBD29-9BDB-4410-B5A3-C93C45ECDCCA}" destId="{A5405A81-8DD7-45E5-9221-8CEB3D1CA633}" srcOrd="1" destOrd="0" parTransId="{0720EFD5-880C-413E-9507-F36C419877A2}" sibTransId="{C9ED9D56-56EF-4F06-A6A8-5ED94C400346}"/>
    <dgm:cxn modelId="{432AD6A3-B661-4F25-96F1-987D97E6CE2F}" type="presOf" srcId="{5A4EBD29-9BDB-4410-B5A3-C93C45ECDCCA}" destId="{7E95E91A-77C9-480C-9DF5-36A9800DE5FD}" srcOrd="0" destOrd="0" presId="urn:microsoft.com/office/officeart/2005/8/layout/chevron1"/>
    <dgm:cxn modelId="{C4F2DCA8-6432-4E72-A133-50B3AAB8AEE0}" type="presOf" srcId="{A5405A81-8DD7-45E5-9221-8CEB3D1CA633}" destId="{725E6417-0418-43C0-891F-EE405BDC9D2D}" srcOrd="0" destOrd="0" presId="urn:microsoft.com/office/officeart/2005/8/layout/chevron1"/>
    <dgm:cxn modelId="{0AD920AA-60D0-4320-B942-1F0D2CFA3A05}" type="presOf" srcId="{B55F6B3D-7746-48EE-B5B3-3A8ACF91F9E7}" destId="{262BE795-9EDB-44E2-96BB-62343E1E77CA}" srcOrd="0" destOrd="0" presId="urn:microsoft.com/office/officeart/2005/8/layout/chevron1"/>
    <dgm:cxn modelId="{ED689DDA-D6E1-4C9D-87AE-9EB8976FEA7C}" srcId="{5A4EBD29-9BDB-4410-B5A3-C93C45ECDCCA}" destId="{B55F6B3D-7746-48EE-B5B3-3A8ACF91F9E7}" srcOrd="0" destOrd="0" parTransId="{A208254B-0DDD-4696-9EEC-242775112F79}" sibTransId="{D686B98D-58FB-406C-9034-9447D5FD71C6}"/>
    <dgm:cxn modelId="{22C964DE-5018-4A33-9EB3-48AD23434E9D}" type="presOf" srcId="{EF1A6440-C633-4BB6-96E5-40D65B8BBB63}" destId="{670DF4D6-AE9E-4D6D-B49B-3109C6E846F7}" srcOrd="0" destOrd="0" presId="urn:microsoft.com/office/officeart/2005/8/layout/chevron1"/>
    <dgm:cxn modelId="{E42A57ED-8F88-47D9-A998-A2735410C5A7}" srcId="{5A4EBD29-9BDB-4410-B5A3-C93C45ECDCCA}" destId="{8FD5EE27-EEA5-4F7D-9768-110820E6ACFE}" srcOrd="2" destOrd="0" parTransId="{B9D090CF-5114-4F81-A477-1D0A07B3AE22}" sibTransId="{9BC49193-A35C-47A1-84E1-FE567320C6A9}"/>
    <dgm:cxn modelId="{E64F0AFB-1957-496E-8EFE-8515FBECE9E4}" srcId="{5A4EBD29-9BDB-4410-B5A3-C93C45ECDCCA}" destId="{EF1A6440-C633-4BB6-96E5-40D65B8BBB63}" srcOrd="3" destOrd="0" parTransId="{DCED5FB0-56B2-4A52-AF3C-629E7756F398}" sibTransId="{E243EE48-5539-47D5-97B3-D254260051EB}"/>
    <dgm:cxn modelId="{78A2FF65-4278-4781-A08A-30D5D6C8E914}" type="presParOf" srcId="{7E95E91A-77C9-480C-9DF5-36A9800DE5FD}" destId="{262BE795-9EDB-44E2-96BB-62343E1E77CA}" srcOrd="0" destOrd="0" presId="urn:microsoft.com/office/officeart/2005/8/layout/chevron1"/>
    <dgm:cxn modelId="{45D4D9C9-8B86-45F6-8ECF-8D6890E50491}" type="presParOf" srcId="{7E95E91A-77C9-480C-9DF5-36A9800DE5FD}" destId="{54CFF9C2-0D0A-4481-B27F-65E1272CE003}" srcOrd="1" destOrd="0" presId="urn:microsoft.com/office/officeart/2005/8/layout/chevron1"/>
    <dgm:cxn modelId="{9B55E1A6-4582-4B5F-8DDC-6D63E8ADF894}" type="presParOf" srcId="{7E95E91A-77C9-480C-9DF5-36A9800DE5FD}" destId="{725E6417-0418-43C0-891F-EE405BDC9D2D}" srcOrd="2" destOrd="0" presId="urn:microsoft.com/office/officeart/2005/8/layout/chevron1"/>
    <dgm:cxn modelId="{8446D901-9198-4F1F-84E8-8F82D5597CFE}" type="presParOf" srcId="{7E95E91A-77C9-480C-9DF5-36A9800DE5FD}" destId="{9D115F0D-9052-4C85-9C1C-B341DDFC46D7}" srcOrd="3" destOrd="0" presId="urn:microsoft.com/office/officeart/2005/8/layout/chevron1"/>
    <dgm:cxn modelId="{3F693BBA-3B06-4D4B-A4F2-34946C51ECA3}" type="presParOf" srcId="{7E95E91A-77C9-480C-9DF5-36A9800DE5FD}" destId="{9654805B-6471-444A-A5C9-497929093079}" srcOrd="4" destOrd="0" presId="urn:microsoft.com/office/officeart/2005/8/layout/chevron1"/>
    <dgm:cxn modelId="{2D8ECA40-4A07-4350-AF43-324AC01E96B8}" type="presParOf" srcId="{7E95E91A-77C9-480C-9DF5-36A9800DE5FD}" destId="{B595F69F-E1B9-4C42-AE00-88723C2E3538}" srcOrd="5" destOrd="0" presId="urn:microsoft.com/office/officeart/2005/8/layout/chevron1"/>
    <dgm:cxn modelId="{6E6CBFAF-3886-4F1C-BD70-7BBF6AD4197B}" type="presParOf" srcId="{7E95E91A-77C9-480C-9DF5-36A9800DE5FD}" destId="{670DF4D6-AE9E-4D6D-B49B-3109C6E846F7}" srcOrd="6" destOrd="0" presId="urn:microsoft.com/office/officeart/2005/8/layout/chevron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DF8898-1113-4EC8-89DF-A937CE222C69}">
      <dsp:nvSpPr>
        <dsp:cNvPr id="0" name=""/>
        <dsp:cNvSpPr/>
      </dsp:nvSpPr>
      <dsp:spPr>
        <a:xfrm>
          <a:off x="1914469" y="2032000"/>
          <a:ext cx="506536" cy="965199"/>
        </a:xfrm>
        <a:custGeom>
          <a:avLst/>
          <a:gdLst/>
          <a:ahLst/>
          <a:cxnLst/>
          <a:rect l="0" t="0" r="0" b="0"/>
          <a:pathLst>
            <a:path>
              <a:moveTo>
                <a:pt x="0" y="0"/>
              </a:moveTo>
              <a:lnTo>
                <a:pt x="253268" y="0"/>
              </a:lnTo>
              <a:lnTo>
                <a:pt x="253268" y="965199"/>
              </a:lnTo>
              <a:lnTo>
                <a:pt x="506536" y="965199"/>
              </a:lnTo>
            </a:path>
          </a:pathLst>
        </a:custGeom>
        <a:noFill/>
        <a:ln w="25400" cap="flat" cmpd="sng" algn="ctr">
          <a:solidFill>
            <a:schemeClr val="accent3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500" kern="1200"/>
        </a:p>
      </dsp:txBody>
      <dsp:txXfrm>
        <a:off x="2140486" y="2487348"/>
        <a:ext cx="54502" cy="54502"/>
      </dsp:txXfrm>
    </dsp:sp>
    <dsp:sp modelId="{67966FBE-D43C-4DBC-B249-3AA0A4D94A75}">
      <dsp:nvSpPr>
        <dsp:cNvPr id="0" name=""/>
        <dsp:cNvSpPr/>
      </dsp:nvSpPr>
      <dsp:spPr>
        <a:xfrm>
          <a:off x="1914469" y="1986280"/>
          <a:ext cx="506536" cy="91440"/>
        </a:xfrm>
        <a:custGeom>
          <a:avLst/>
          <a:gdLst/>
          <a:ahLst/>
          <a:cxnLst/>
          <a:rect l="0" t="0" r="0" b="0"/>
          <a:pathLst>
            <a:path>
              <a:moveTo>
                <a:pt x="0" y="45720"/>
              </a:moveTo>
              <a:lnTo>
                <a:pt x="506536" y="45720"/>
              </a:lnTo>
            </a:path>
          </a:pathLst>
        </a:custGeom>
        <a:noFill/>
        <a:ln w="25400" cap="flat" cmpd="sng" algn="ctr">
          <a:solidFill>
            <a:schemeClr val="accent3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500" kern="1200"/>
        </a:p>
      </dsp:txBody>
      <dsp:txXfrm>
        <a:off x="2155074" y="2019336"/>
        <a:ext cx="25326" cy="25326"/>
      </dsp:txXfrm>
    </dsp:sp>
    <dsp:sp modelId="{FF71BEC2-A36B-4E84-B6F7-3A85E2C15987}">
      <dsp:nvSpPr>
        <dsp:cNvPr id="0" name=""/>
        <dsp:cNvSpPr/>
      </dsp:nvSpPr>
      <dsp:spPr>
        <a:xfrm>
          <a:off x="1914469" y="1066799"/>
          <a:ext cx="506536" cy="965200"/>
        </a:xfrm>
        <a:custGeom>
          <a:avLst/>
          <a:gdLst/>
          <a:ahLst/>
          <a:cxnLst/>
          <a:rect l="0" t="0" r="0" b="0"/>
          <a:pathLst>
            <a:path>
              <a:moveTo>
                <a:pt x="0" y="965200"/>
              </a:moveTo>
              <a:lnTo>
                <a:pt x="253268" y="965200"/>
              </a:lnTo>
              <a:lnTo>
                <a:pt x="253268" y="0"/>
              </a:lnTo>
              <a:lnTo>
                <a:pt x="506536" y="0"/>
              </a:lnTo>
            </a:path>
          </a:pathLst>
        </a:custGeom>
        <a:noFill/>
        <a:ln w="25400" cap="flat" cmpd="sng" algn="ctr">
          <a:solidFill>
            <a:schemeClr val="accent3">
              <a:tint val="9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500" kern="1200"/>
        </a:p>
      </dsp:txBody>
      <dsp:txXfrm>
        <a:off x="2140486" y="1522148"/>
        <a:ext cx="54502" cy="54502"/>
      </dsp:txXfrm>
    </dsp:sp>
    <dsp:sp modelId="{D7BB9731-E69E-4B64-829F-71E19EB96719}">
      <dsp:nvSpPr>
        <dsp:cNvPr id="0" name=""/>
        <dsp:cNvSpPr/>
      </dsp:nvSpPr>
      <dsp:spPr>
        <a:xfrm rot="16200000">
          <a:off x="-503610" y="1645920"/>
          <a:ext cx="4064000" cy="772160"/>
        </a:xfrm>
        <a:prstGeom prst="rect">
          <a:avLst/>
        </a:prstGeom>
        <a:solidFill>
          <a:schemeClr val="accent3">
            <a:shade val="6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22225" tIns="22225" rIns="22225" bIns="22225" numCol="1" spcCol="1270" anchor="ctr" anchorCtr="0">
          <a:noAutofit/>
        </a:bodyPr>
        <a:lstStyle/>
        <a:p>
          <a:pPr marL="0" lvl="0" indent="0" algn="ctr" defTabSz="15557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500" b="1" kern="1200" dirty="0"/>
            <a:t>Branch Finance</a:t>
          </a:r>
        </a:p>
      </dsp:txBody>
      <dsp:txXfrm>
        <a:off x="-503610" y="1645920"/>
        <a:ext cx="4064000" cy="772160"/>
      </dsp:txXfrm>
    </dsp:sp>
    <dsp:sp modelId="{8E9A72C5-47A6-42BE-B726-0C7967DB05A8}">
      <dsp:nvSpPr>
        <dsp:cNvPr id="0" name=""/>
        <dsp:cNvSpPr/>
      </dsp:nvSpPr>
      <dsp:spPr>
        <a:xfrm>
          <a:off x="2421006" y="680719"/>
          <a:ext cx="2532684" cy="772160"/>
        </a:xfrm>
        <a:prstGeom prst="rect">
          <a:avLst/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700" b="1" kern="1200" dirty="0"/>
            <a:t>Internal Control and Compliance (ICC)</a:t>
          </a:r>
        </a:p>
      </dsp:txBody>
      <dsp:txXfrm>
        <a:off x="2421006" y="680719"/>
        <a:ext cx="2532684" cy="772160"/>
      </dsp:txXfrm>
    </dsp:sp>
    <dsp:sp modelId="{65475152-409D-4026-8B0D-98F455074FA1}">
      <dsp:nvSpPr>
        <dsp:cNvPr id="0" name=""/>
        <dsp:cNvSpPr/>
      </dsp:nvSpPr>
      <dsp:spPr>
        <a:xfrm>
          <a:off x="2421006" y="1645920"/>
          <a:ext cx="2532684" cy="772160"/>
        </a:xfrm>
        <a:prstGeom prst="rect">
          <a:avLst/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700" b="1" kern="1200" dirty="0"/>
            <a:t>Supply Chain Management (SCM)</a:t>
          </a:r>
        </a:p>
      </dsp:txBody>
      <dsp:txXfrm>
        <a:off x="2421006" y="1645920"/>
        <a:ext cx="2532684" cy="772160"/>
      </dsp:txXfrm>
    </dsp:sp>
    <dsp:sp modelId="{87DBE50F-6E07-481F-BA01-228B6AC9DFCF}">
      <dsp:nvSpPr>
        <dsp:cNvPr id="0" name=""/>
        <dsp:cNvSpPr/>
      </dsp:nvSpPr>
      <dsp:spPr>
        <a:xfrm>
          <a:off x="2421006" y="2611119"/>
          <a:ext cx="2532684" cy="772160"/>
        </a:xfrm>
        <a:prstGeom prst="rect">
          <a:avLst/>
        </a:prstGeom>
        <a:solidFill>
          <a:schemeClr val="accent3">
            <a:shade val="80000"/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795" tIns="10795" rIns="10795" bIns="10795" numCol="1" spcCol="1270" anchor="ctr" anchorCtr="0">
          <a:noAutofit/>
        </a:bodyPr>
        <a:lstStyle/>
        <a:p>
          <a:pPr marL="0" lvl="0" indent="0" algn="ctr" defTabSz="7556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700" b="1" kern="1200" dirty="0"/>
            <a:t>Financial and Management Accounting (FMA) </a:t>
          </a:r>
        </a:p>
      </dsp:txBody>
      <dsp:txXfrm>
        <a:off x="2421006" y="2611119"/>
        <a:ext cx="2532684" cy="77216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54142E-C32B-4E5F-9FFA-9D5E68938780}">
      <dsp:nvSpPr>
        <dsp:cNvPr id="0" name=""/>
        <dsp:cNvSpPr/>
      </dsp:nvSpPr>
      <dsp:spPr>
        <a:xfrm>
          <a:off x="0" y="1423847"/>
          <a:ext cx="8280400" cy="1205941"/>
        </a:xfrm>
        <a:prstGeom prst="rightArrow">
          <a:avLst>
            <a:gd name="adj1" fmla="val 5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191443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300" kern="1200" dirty="0"/>
            <a:t>Impact: </a:t>
          </a:r>
        </a:p>
      </dsp:txBody>
      <dsp:txXfrm>
        <a:off x="0" y="1725332"/>
        <a:ext cx="7978915" cy="602971"/>
      </dsp:txXfrm>
    </dsp:sp>
    <dsp:sp modelId="{856E43E6-3D70-4376-AA4E-32C2946973DE}">
      <dsp:nvSpPr>
        <dsp:cNvPr id="0" name=""/>
        <dsp:cNvSpPr/>
      </dsp:nvSpPr>
      <dsp:spPr>
        <a:xfrm>
          <a:off x="0" y="2353802"/>
          <a:ext cx="2550363" cy="232308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Integrated support and solution for efficient  and economic service delivery</a:t>
          </a:r>
          <a:endParaRPr lang="en-ZA" sz="2000" kern="1200" dirty="0"/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100" kern="1200" dirty="0"/>
        </a:p>
      </dsp:txBody>
      <dsp:txXfrm>
        <a:off x="0" y="2353802"/>
        <a:ext cx="2550363" cy="2323087"/>
      </dsp:txXfrm>
    </dsp:sp>
    <dsp:sp modelId="{C30C58A0-B04E-452B-9322-CA41E936892C}">
      <dsp:nvSpPr>
        <dsp:cNvPr id="0" name=""/>
        <dsp:cNvSpPr/>
      </dsp:nvSpPr>
      <dsp:spPr>
        <a:xfrm>
          <a:off x="2550363" y="1825827"/>
          <a:ext cx="5730036" cy="1205941"/>
        </a:xfrm>
        <a:prstGeom prst="rightArrow">
          <a:avLst>
            <a:gd name="adj1" fmla="val 5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191443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300" kern="1200" dirty="0"/>
            <a:t>Outcome:</a:t>
          </a:r>
        </a:p>
      </dsp:txBody>
      <dsp:txXfrm>
        <a:off x="2550363" y="2127312"/>
        <a:ext cx="5428551" cy="602971"/>
      </dsp:txXfrm>
    </dsp:sp>
    <dsp:sp modelId="{3B15316A-54DA-4456-ADE2-E7F050C432BD}">
      <dsp:nvSpPr>
        <dsp:cNvPr id="0" name=""/>
        <dsp:cNvSpPr/>
      </dsp:nvSpPr>
      <dsp:spPr>
        <a:xfrm>
          <a:off x="2550363" y="2755782"/>
          <a:ext cx="2550363" cy="232308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Build capacity to ensure value driven Correctional Services</a:t>
          </a:r>
          <a:endParaRPr lang="en-ZA" sz="2000" kern="1200" dirty="0"/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100" kern="1200" dirty="0"/>
        </a:p>
      </dsp:txBody>
      <dsp:txXfrm>
        <a:off x="2550363" y="2755782"/>
        <a:ext cx="2550363" cy="2323087"/>
      </dsp:txXfrm>
    </dsp:sp>
    <dsp:sp modelId="{CCAB3F69-164F-45F2-B5B9-A78867DCEE16}">
      <dsp:nvSpPr>
        <dsp:cNvPr id="0" name=""/>
        <dsp:cNvSpPr/>
      </dsp:nvSpPr>
      <dsp:spPr>
        <a:xfrm>
          <a:off x="5100726" y="2227808"/>
          <a:ext cx="3179673" cy="1205941"/>
        </a:xfrm>
        <a:prstGeom prst="rightArrow">
          <a:avLst>
            <a:gd name="adj1" fmla="val 5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191443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300" kern="1200" dirty="0"/>
            <a:t>Strategic intent:</a:t>
          </a:r>
        </a:p>
      </dsp:txBody>
      <dsp:txXfrm>
        <a:off x="5100726" y="2529293"/>
        <a:ext cx="2878188" cy="602971"/>
      </dsp:txXfrm>
    </dsp:sp>
    <dsp:sp modelId="{2E2CEF3C-DAE3-4606-B5A5-BCCA1CBCB380}">
      <dsp:nvSpPr>
        <dsp:cNvPr id="0" name=""/>
        <dsp:cNvSpPr/>
      </dsp:nvSpPr>
      <dsp:spPr>
        <a:xfrm>
          <a:off x="5100726" y="3157763"/>
          <a:ext cx="2550363" cy="22890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41910" tIns="41910" rIns="41910" bIns="41910" numCol="1" spcCol="1270" anchor="t" anchorCtr="0">
          <a:noAutofit/>
        </a:bodyPr>
        <a:lstStyle/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100" b="1" kern="1200" dirty="0"/>
            <a:t>Sound  financial management practices and ethical public administration </a:t>
          </a:r>
          <a:endParaRPr lang="en-ZA" sz="1100" kern="1200" dirty="0"/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100" kern="1200" dirty="0"/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100" b="1" kern="1200"/>
            <a:t>Optimal  utilisation of resources supported by economical procurement practices </a:t>
          </a:r>
          <a:endParaRPr lang="en-ZA" sz="1100" b="1" kern="1200" dirty="0"/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100" b="1" kern="1200" dirty="0"/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100" b="1" kern="1200"/>
            <a:t>Re-engineering supply chain management and business processes.</a:t>
          </a:r>
          <a:endParaRPr lang="en-ZA" sz="1100" b="1" kern="1200" dirty="0"/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100" b="1" kern="1200" dirty="0"/>
        </a:p>
        <a:p>
          <a:pPr marL="0" lvl="0" indent="0" algn="l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100" b="1" kern="1200" dirty="0"/>
            <a:t>Achieve acceptable maturity levels for internal controls and risk </a:t>
          </a:r>
          <a:endParaRPr lang="en-ZA" sz="1100" kern="1200" dirty="0"/>
        </a:p>
      </dsp:txBody>
      <dsp:txXfrm>
        <a:off x="5100726" y="3157763"/>
        <a:ext cx="2550363" cy="2289089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54142E-C32B-4E5F-9FFA-9D5E68938780}">
      <dsp:nvSpPr>
        <dsp:cNvPr id="0" name=""/>
        <dsp:cNvSpPr/>
      </dsp:nvSpPr>
      <dsp:spPr>
        <a:xfrm>
          <a:off x="0" y="1423847"/>
          <a:ext cx="8280400" cy="1205941"/>
        </a:xfrm>
        <a:prstGeom prst="rightArrow">
          <a:avLst>
            <a:gd name="adj1" fmla="val 5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191443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300" kern="1200" dirty="0"/>
            <a:t>Impact: </a:t>
          </a:r>
        </a:p>
      </dsp:txBody>
      <dsp:txXfrm>
        <a:off x="0" y="1725332"/>
        <a:ext cx="7978915" cy="602971"/>
      </dsp:txXfrm>
    </dsp:sp>
    <dsp:sp modelId="{856E43E6-3D70-4376-AA4E-32C2946973DE}">
      <dsp:nvSpPr>
        <dsp:cNvPr id="0" name=""/>
        <dsp:cNvSpPr/>
      </dsp:nvSpPr>
      <dsp:spPr>
        <a:xfrm>
          <a:off x="0" y="2353802"/>
          <a:ext cx="2550363" cy="232308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Integrated support and solution for efficient  and economic service delivery</a:t>
          </a:r>
          <a:endParaRPr lang="en-ZA" sz="1600" kern="1200" dirty="0"/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600" kern="1200" dirty="0"/>
        </a:p>
      </dsp:txBody>
      <dsp:txXfrm>
        <a:off x="0" y="2353802"/>
        <a:ext cx="2550363" cy="2323087"/>
      </dsp:txXfrm>
    </dsp:sp>
    <dsp:sp modelId="{C30C58A0-B04E-452B-9322-CA41E936892C}">
      <dsp:nvSpPr>
        <dsp:cNvPr id="0" name=""/>
        <dsp:cNvSpPr/>
      </dsp:nvSpPr>
      <dsp:spPr>
        <a:xfrm>
          <a:off x="2550363" y="1825827"/>
          <a:ext cx="5730036" cy="1205941"/>
        </a:xfrm>
        <a:prstGeom prst="rightArrow">
          <a:avLst>
            <a:gd name="adj1" fmla="val 5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191443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300" kern="1200" dirty="0"/>
            <a:t>Outcome:</a:t>
          </a:r>
        </a:p>
      </dsp:txBody>
      <dsp:txXfrm>
        <a:off x="2550363" y="2127312"/>
        <a:ext cx="5428551" cy="602971"/>
      </dsp:txXfrm>
    </dsp:sp>
    <dsp:sp modelId="{3B15316A-54DA-4456-ADE2-E7F050C432BD}">
      <dsp:nvSpPr>
        <dsp:cNvPr id="0" name=""/>
        <dsp:cNvSpPr/>
      </dsp:nvSpPr>
      <dsp:spPr>
        <a:xfrm>
          <a:off x="2550363" y="2755782"/>
          <a:ext cx="2550363" cy="232308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Build capacity to ensure value driven Correctional Services</a:t>
          </a:r>
          <a:endParaRPr lang="en-ZA" sz="1600" kern="1200" dirty="0"/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600" kern="1200" dirty="0"/>
        </a:p>
      </dsp:txBody>
      <dsp:txXfrm>
        <a:off x="2550363" y="2755782"/>
        <a:ext cx="2550363" cy="2323087"/>
      </dsp:txXfrm>
    </dsp:sp>
    <dsp:sp modelId="{CCAB3F69-164F-45F2-B5B9-A78867DCEE16}">
      <dsp:nvSpPr>
        <dsp:cNvPr id="0" name=""/>
        <dsp:cNvSpPr/>
      </dsp:nvSpPr>
      <dsp:spPr>
        <a:xfrm>
          <a:off x="5100726" y="2227808"/>
          <a:ext cx="3179673" cy="1205941"/>
        </a:xfrm>
        <a:prstGeom prst="rightArrow">
          <a:avLst>
            <a:gd name="adj1" fmla="val 5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191443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300" kern="1200" dirty="0"/>
            <a:t>Strategic intent:</a:t>
          </a:r>
        </a:p>
      </dsp:txBody>
      <dsp:txXfrm>
        <a:off x="5100726" y="2529293"/>
        <a:ext cx="2878188" cy="602971"/>
      </dsp:txXfrm>
    </dsp:sp>
    <dsp:sp modelId="{2E2CEF3C-DAE3-4606-B5A5-BCCA1CBCB380}">
      <dsp:nvSpPr>
        <dsp:cNvPr id="0" name=""/>
        <dsp:cNvSpPr/>
      </dsp:nvSpPr>
      <dsp:spPr>
        <a:xfrm>
          <a:off x="5100726" y="3157763"/>
          <a:ext cx="2550363" cy="22890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0960" tIns="60960" rIns="60960" bIns="60960" numCol="1" spcCol="1270" anchor="t" anchorCtr="0">
          <a:noAutofit/>
        </a:bodyPr>
        <a:lstStyle/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b="1" kern="1200" dirty="0"/>
            <a:t>Clean audit outcomes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600" b="1" kern="1200" dirty="0"/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b="1" kern="1200" dirty="0"/>
            <a:t>Increased revenue and productivity </a:t>
          </a:r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600" b="1" kern="1200" dirty="0"/>
        </a:p>
        <a:p>
          <a:pPr marL="0" lvl="0" indent="0" algn="l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b="1" kern="1200" dirty="0"/>
            <a:t>Improved Compliance levels with laws and regulations  </a:t>
          </a:r>
          <a:endParaRPr lang="en-ZA" sz="1600" kern="1200" dirty="0"/>
        </a:p>
      </dsp:txBody>
      <dsp:txXfrm>
        <a:off x="5100726" y="3157763"/>
        <a:ext cx="2550363" cy="2289089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554142E-C32B-4E5F-9FFA-9D5E68938780}">
      <dsp:nvSpPr>
        <dsp:cNvPr id="0" name=""/>
        <dsp:cNvSpPr/>
      </dsp:nvSpPr>
      <dsp:spPr>
        <a:xfrm>
          <a:off x="0" y="1423847"/>
          <a:ext cx="8280400" cy="1205941"/>
        </a:xfrm>
        <a:prstGeom prst="rightArrow">
          <a:avLst>
            <a:gd name="adj1" fmla="val 50000"/>
            <a:gd name="adj2" fmla="val 50000"/>
          </a:avLst>
        </a:prstGeom>
        <a:solidFill>
          <a:schemeClr val="accent2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191443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300" kern="1200" dirty="0"/>
            <a:t>Impact: </a:t>
          </a:r>
        </a:p>
      </dsp:txBody>
      <dsp:txXfrm>
        <a:off x="0" y="1725332"/>
        <a:ext cx="7978915" cy="602971"/>
      </dsp:txXfrm>
    </dsp:sp>
    <dsp:sp modelId="{856E43E6-3D70-4376-AA4E-32C2946973DE}">
      <dsp:nvSpPr>
        <dsp:cNvPr id="0" name=""/>
        <dsp:cNvSpPr/>
      </dsp:nvSpPr>
      <dsp:spPr>
        <a:xfrm>
          <a:off x="0" y="2353802"/>
          <a:ext cx="2550363" cy="232308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2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Integrated support and solution for efficient  and economic service delivery</a:t>
          </a:r>
          <a:endParaRPr lang="en-ZA" sz="2000" kern="1200" dirty="0"/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2000" kern="1200" dirty="0"/>
        </a:p>
      </dsp:txBody>
      <dsp:txXfrm>
        <a:off x="0" y="2353802"/>
        <a:ext cx="2550363" cy="2323087"/>
      </dsp:txXfrm>
    </dsp:sp>
    <dsp:sp modelId="{C30C58A0-B04E-452B-9322-CA41E936892C}">
      <dsp:nvSpPr>
        <dsp:cNvPr id="0" name=""/>
        <dsp:cNvSpPr/>
      </dsp:nvSpPr>
      <dsp:spPr>
        <a:xfrm>
          <a:off x="2550363" y="1825827"/>
          <a:ext cx="5730036" cy="1205941"/>
        </a:xfrm>
        <a:prstGeom prst="rightArrow">
          <a:avLst>
            <a:gd name="adj1" fmla="val 50000"/>
            <a:gd name="adj2" fmla="val 50000"/>
          </a:avLst>
        </a:prstGeom>
        <a:solidFill>
          <a:schemeClr val="accent3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191443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300" kern="1200" dirty="0"/>
            <a:t>Outcome:</a:t>
          </a:r>
        </a:p>
      </dsp:txBody>
      <dsp:txXfrm>
        <a:off x="2550363" y="2127312"/>
        <a:ext cx="5428551" cy="602971"/>
      </dsp:txXfrm>
    </dsp:sp>
    <dsp:sp modelId="{3B15316A-54DA-4456-ADE2-E7F050C432BD}">
      <dsp:nvSpPr>
        <dsp:cNvPr id="0" name=""/>
        <dsp:cNvSpPr/>
      </dsp:nvSpPr>
      <dsp:spPr>
        <a:xfrm>
          <a:off x="2550363" y="2755782"/>
          <a:ext cx="2550363" cy="2323087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3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6200" tIns="76200" rIns="76200" bIns="76200" numCol="1" spcCol="1270" anchor="t" anchorCtr="0">
          <a:noAutofit/>
        </a:bodyPr>
        <a:lstStyle/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0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Build capacity to ensure value driven Correctional Services</a:t>
          </a:r>
          <a:endParaRPr lang="en-ZA" sz="2000" kern="1200" dirty="0"/>
        </a:p>
        <a:p>
          <a:pPr marL="0" lvl="0" indent="0" algn="l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2000" kern="1200" dirty="0"/>
        </a:p>
      </dsp:txBody>
      <dsp:txXfrm>
        <a:off x="2550363" y="2755782"/>
        <a:ext cx="2550363" cy="2323087"/>
      </dsp:txXfrm>
    </dsp:sp>
    <dsp:sp modelId="{CCAB3F69-164F-45F2-B5B9-A78867DCEE16}">
      <dsp:nvSpPr>
        <dsp:cNvPr id="0" name=""/>
        <dsp:cNvSpPr/>
      </dsp:nvSpPr>
      <dsp:spPr>
        <a:xfrm>
          <a:off x="5100726" y="2227808"/>
          <a:ext cx="3179673" cy="1205941"/>
        </a:xfrm>
        <a:prstGeom prst="rightArrow">
          <a:avLst>
            <a:gd name="adj1" fmla="val 50000"/>
            <a:gd name="adj2" fmla="val 50000"/>
          </a:avLst>
        </a:prstGeom>
        <a:solidFill>
          <a:schemeClr val="accent4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87630" tIns="87630" rIns="254000" bIns="191443" numCol="1" spcCol="1270" anchor="ctr" anchorCtr="0">
          <a:noAutofit/>
        </a:bodyPr>
        <a:lstStyle/>
        <a:p>
          <a:pPr marL="0" lvl="0" indent="0" algn="l" defTabSz="10223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2300" kern="1200" dirty="0"/>
            <a:t>Strategic intent:</a:t>
          </a:r>
        </a:p>
      </dsp:txBody>
      <dsp:txXfrm>
        <a:off x="5100726" y="2529293"/>
        <a:ext cx="2878188" cy="602971"/>
      </dsp:txXfrm>
    </dsp:sp>
    <dsp:sp modelId="{2E2CEF3C-DAE3-4606-B5A5-BCCA1CBCB380}">
      <dsp:nvSpPr>
        <dsp:cNvPr id="0" name=""/>
        <dsp:cNvSpPr/>
      </dsp:nvSpPr>
      <dsp:spPr>
        <a:xfrm>
          <a:off x="5100726" y="3157763"/>
          <a:ext cx="2550363" cy="2289089"/>
        </a:xfrm>
        <a:prstGeom prst="rect">
          <a:avLst/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accent4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1920" tIns="121920" rIns="121920" bIns="121920" numCol="1" spcCol="1270" anchor="t" anchorCtr="0">
          <a:noAutofit/>
        </a:bodyPr>
        <a:lstStyle/>
        <a:p>
          <a:pPr marL="0" lvl="0" indent="0" algn="l" defTabSz="14224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3200" b="1" kern="1200" dirty="0"/>
            <a:t>A Capable Correctional Services</a:t>
          </a:r>
          <a:endParaRPr lang="en-ZA" sz="3200" kern="1200" dirty="0"/>
        </a:p>
      </dsp:txBody>
      <dsp:txXfrm>
        <a:off x="5100726" y="3157763"/>
        <a:ext cx="2550363" cy="2289089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BE1993-DE2F-4A51-8D77-D9DF03A10228}">
      <dsp:nvSpPr>
        <dsp:cNvPr id="0" name=""/>
        <dsp:cNvSpPr/>
      </dsp:nvSpPr>
      <dsp:spPr>
        <a:xfrm>
          <a:off x="236349" y="1926155"/>
          <a:ext cx="1740981" cy="2041430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Integrated support and solution for efficient  and economic service delivery </a:t>
          </a:r>
        </a:p>
      </dsp:txBody>
      <dsp:txXfrm>
        <a:off x="287341" y="1977147"/>
        <a:ext cx="1638997" cy="1939446"/>
      </dsp:txXfrm>
    </dsp:sp>
    <dsp:sp modelId="{806624F1-247C-4B18-98B2-C7420405EA0A}">
      <dsp:nvSpPr>
        <dsp:cNvPr id="0" name=""/>
        <dsp:cNvSpPr/>
      </dsp:nvSpPr>
      <dsp:spPr>
        <a:xfrm rot="21057595">
          <a:off x="1973888" y="2889631"/>
          <a:ext cx="554231" cy="27395"/>
        </a:xfrm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547882" y="13710"/>
              </a:lnTo>
            </a:path>
          </a:pathLst>
        </a:custGeom>
        <a:noFill/>
        <a:ln w="25400" cap="flat" cmpd="sng" algn="ctr">
          <a:solidFill>
            <a:schemeClr val="accent3">
              <a:shade val="6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2237148" y="2889473"/>
        <a:ext cx="27711" cy="27711"/>
      </dsp:txXfrm>
    </dsp:sp>
    <dsp:sp modelId="{700750EF-DCA2-44E7-A8F6-8722B98CA86B}">
      <dsp:nvSpPr>
        <dsp:cNvPr id="0" name=""/>
        <dsp:cNvSpPr/>
      </dsp:nvSpPr>
      <dsp:spPr>
        <a:xfrm>
          <a:off x="2524677" y="1125805"/>
          <a:ext cx="1740981" cy="3467964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Build capacity to ensure value driven Correctional Services</a:t>
          </a: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1600" kern="1200" dirty="0">
            <a:solidFill>
              <a:schemeClr val="dk1">
                <a:hueOff val="0"/>
                <a:satOff val="0"/>
                <a:lumOff val="0"/>
                <a:alphaOff val="0"/>
              </a:schemeClr>
            </a:solidFill>
            <a:latin typeface="Arial Unicode MS" panose="020B0604020202020204" pitchFamily="34" charset="-128"/>
            <a:ea typeface="Arial Unicode MS" panose="020B0604020202020204" pitchFamily="34" charset="-128"/>
            <a:cs typeface="Arial Unicode MS" panose="020B0604020202020204" pitchFamily="34" charset="-128"/>
          </a:endParaRPr>
        </a:p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 </a:t>
          </a:r>
        </a:p>
      </dsp:txBody>
      <dsp:txXfrm>
        <a:off x="2575669" y="1176797"/>
        <a:ext cx="1638997" cy="3365980"/>
      </dsp:txXfrm>
    </dsp:sp>
    <dsp:sp modelId="{3A0F5D64-518A-4350-B9E9-C42320A5B686}">
      <dsp:nvSpPr>
        <dsp:cNvPr id="0" name=""/>
        <dsp:cNvSpPr/>
      </dsp:nvSpPr>
      <dsp:spPr>
        <a:xfrm rot="18343207">
          <a:off x="4046131" y="2417832"/>
          <a:ext cx="1054978" cy="27395"/>
        </a:xfrm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794435" y="13710"/>
              </a:lnTo>
            </a:path>
          </a:pathLst>
        </a:cu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4547246" y="2405155"/>
        <a:ext cx="52748" cy="52748"/>
      </dsp:txXfrm>
    </dsp:sp>
    <dsp:sp modelId="{E57721BD-D99F-4BCC-BEB3-1297D5C323E0}">
      <dsp:nvSpPr>
        <dsp:cNvPr id="0" name=""/>
        <dsp:cNvSpPr/>
      </dsp:nvSpPr>
      <dsp:spPr>
        <a:xfrm>
          <a:off x="4881583" y="1212044"/>
          <a:ext cx="1740981" cy="158245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Consistent clean administration and reliable financial reporting</a:t>
          </a:r>
        </a:p>
      </dsp:txBody>
      <dsp:txXfrm>
        <a:off x="4927932" y="1258393"/>
        <a:ext cx="1648283" cy="1489758"/>
      </dsp:txXfrm>
    </dsp:sp>
    <dsp:sp modelId="{ACCF4CD0-F9FF-4370-A691-0715E7AAB44F}">
      <dsp:nvSpPr>
        <dsp:cNvPr id="0" name=""/>
        <dsp:cNvSpPr/>
      </dsp:nvSpPr>
      <dsp:spPr>
        <a:xfrm rot="3305016">
          <a:off x="4035583" y="3287274"/>
          <a:ext cx="1076074" cy="27395"/>
        </a:xfrm>
        <a:custGeom>
          <a:avLst/>
          <a:gdLst/>
          <a:ahLst/>
          <a:cxnLst/>
          <a:rect l="0" t="0" r="0" b="0"/>
          <a:pathLst>
            <a:path>
              <a:moveTo>
                <a:pt x="0" y="13710"/>
              </a:moveTo>
              <a:lnTo>
                <a:pt x="794435" y="13710"/>
              </a:lnTo>
            </a:path>
          </a:pathLst>
        </a:custGeom>
        <a:noFill/>
        <a:ln w="254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2700" tIns="0" rIns="12700" bIns="0" numCol="1" spcCol="1270" anchor="ctr" anchorCtr="0">
          <a:noAutofit/>
        </a:bodyPr>
        <a:lstStyle/>
        <a:p>
          <a:pPr marL="0" lvl="0" indent="0" algn="ctr" defTabSz="2222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endParaRPr lang="en-ZA" sz="5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>
        <a:off x="4546719" y="3274069"/>
        <a:ext cx="53803" cy="53803"/>
      </dsp:txXfrm>
    </dsp:sp>
    <dsp:sp modelId="{CC82D747-28E6-4311-BA1A-378E1CDE55D5}">
      <dsp:nvSpPr>
        <dsp:cNvPr id="0" name=""/>
        <dsp:cNvSpPr/>
      </dsp:nvSpPr>
      <dsp:spPr>
        <a:xfrm>
          <a:off x="4881583" y="2950927"/>
          <a:ext cx="1740981" cy="1582456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38100" cap="flat" cmpd="sng" algn="ctr">
          <a:solidFill>
            <a:schemeClr val="accent3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>
          <a:outerShdw blurRad="40000" dist="20000" dir="5400000" rotWithShape="0">
            <a:srgbClr val="000000">
              <a:alpha val="38000"/>
            </a:srgbClr>
          </a:outerShdw>
        </a:effectLst>
      </dsp:spPr>
      <dsp:style>
        <a:lnRef idx="3">
          <a:scrgbClr r="0" g="0" b="0"/>
        </a:lnRef>
        <a:fillRef idx="1">
          <a:scrgbClr r="0" g="0" b="0"/>
        </a:fillRef>
        <a:effectRef idx="1">
          <a:scrgbClr r="0" g="0" b="0"/>
        </a:effectRef>
        <a:fontRef idx="minor">
          <a:schemeClr val="lt1"/>
        </a:fontRef>
      </dsp:style>
      <dsp:txBody>
        <a:bodyPr spcFirstLastPara="0" vert="horz" wrap="square" lIns="10160" tIns="10160" rIns="10160" bIns="10160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600" kern="1200" dirty="0">
              <a:solidFill>
                <a:schemeClr val="dk1">
                  <a:hueOff val="0"/>
                  <a:satOff val="0"/>
                  <a:lumOff val="0"/>
                  <a:alphaOff val="0"/>
                </a:schemeClr>
              </a:solidFill>
              <a:latin typeface="Arial Unicode MS" panose="020B0604020202020204" pitchFamily="34" charset="-128"/>
              <a:ea typeface="Arial Unicode MS" panose="020B0604020202020204" pitchFamily="34" charset="-128"/>
              <a:cs typeface="Arial Unicode MS" panose="020B0604020202020204" pitchFamily="34" charset="-128"/>
            </a:rPr>
            <a:t>Improved productivity and self sufficiency</a:t>
          </a:r>
        </a:p>
      </dsp:txBody>
      <dsp:txXfrm>
        <a:off x="4927932" y="2997276"/>
        <a:ext cx="1648283" cy="1489758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262BE795-9EDB-44E2-96BB-62343E1E77CA}">
      <dsp:nvSpPr>
        <dsp:cNvPr id="0" name=""/>
        <dsp:cNvSpPr/>
      </dsp:nvSpPr>
      <dsp:spPr>
        <a:xfrm>
          <a:off x="4241" y="0"/>
          <a:ext cx="2469058" cy="408158"/>
        </a:xfrm>
        <a:prstGeom prst="chevr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400" kern="1200" dirty="0">
              <a:solidFill>
                <a:schemeClr val="tx1"/>
              </a:solidFill>
              <a:latin typeface="Calibri"/>
              <a:ea typeface="+mn-ea"/>
              <a:cs typeface="+mn-cs"/>
            </a:rPr>
            <a:t>Impact (Impact Statement)</a:t>
          </a:r>
        </a:p>
      </dsp:txBody>
      <dsp:txXfrm>
        <a:off x="208320" y="0"/>
        <a:ext cx="2060900" cy="408158"/>
      </dsp:txXfrm>
    </dsp:sp>
    <dsp:sp modelId="{725E6417-0418-43C0-891F-EE405BDC9D2D}">
      <dsp:nvSpPr>
        <dsp:cNvPr id="0" name=""/>
        <dsp:cNvSpPr/>
      </dsp:nvSpPr>
      <dsp:spPr>
        <a:xfrm>
          <a:off x="2226394" y="0"/>
          <a:ext cx="2469058" cy="408158"/>
        </a:xfrm>
        <a:prstGeom prst="chevr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400" kern="1200" dirty="0">
              <a:solidFill>
                <a:schemeClr val="tx1"/>
              </a:solidFill>
              <a:latin typeface="Calibri"/>
              <a:ea typeface="+mn-ea"/>
              <a:cs typeface="+mn-cs"/>
            </a:rPr>
            <a:t>Outcome (5 year target)</a:t>
          </a:r>
        </a:p>
      </dsp:txBody>
      <dsp:txXfrm>
        <a:off x="2430473" y="0"/>
        <a:ext cx="2060900" cy="408158"/>
      </dsp:txXfrm>
    </dsp:sp>
    <dsp:sp modelId="{9654805B-6471-444A-A5C9-497929093079}">
      <dsp:nvSpPr>
        <dsp:cNvPr id="0" name=""/>
        <dsp:cNvSpPr/>
      </dsp:nvSpPr>
      <dsp:spPr>
        <a:xfrm>
          <a:off x="4448547" y="0"/>
          <a:ext cx="2469058" cy="408158"/>
        </a:xfrm>
        <a:prstGeom prst="chevr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400" kern="1200" dirty="0">
              <a:solidFill>
                <a:schemeClr val="tx1"/>
              </a:solidFill>
              <a:latin typeface="Calibri"/>
              <a:ea typeface="+mn-ea"/>
              <a:cs typeface="+mn-cs"/>
            </a:rPr>
            <a:t>Primary Outputs (KPI’S)</a:t>
          </a:r>
        </a:p>
      </dsp:txBody>
      <dsp:txXfrm>
        <a:off x="4652626" y="0"/>
        <a:ext cx="2060900" cy="408158"/>
      </dsp:txXfrm>
    </dsp:sp>
    <dsp:sp modelId="{670DF4D6-AE9E-4D6D-B49B-3109C6E846F7}">
      <dsp:nvSpPr>
        <dsp:cNvPr id="0" name=""/>
        <dsp:cNvSpPr/>
      </dsp:nvSpPr>
      <dsp:spPr>
        <a:xfrm>
          <a:off x="6674941" y="0"/>
          <a:ext cx="2469058" cy="408158"/>
        </a:xfrm>
        <a:prstGeom prst="chevron">
          <a:avLst/>
        </a:prstGeom>
        <a:gradFill rotWithShape="0">
          <a:gsLst>
            <a:gs pos="0">
              <a:schemeClr val="accent3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chemeClr>
            </a:gs>
            <a:gs pos="100000">
              <a:schemeClr val="accent3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cheme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  <dsp:txBody>
        <a:bodyPr spcFirstLastPara="0" vert="horz" wrap="square" lIns="56007" tIns="18669" rIns="18669" bIns="18669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ZA" sz="1400" kern="1200" dirty="0">
              <a:solidFill>
                <a:schemeClr val="tx1"/>
              </a:solidFill>
              <a:latin typeface="Calibri"/>
              <a:ea typeface="+mn-ea"/>
              <a:cs typeface="+mn-cs"/>
            </a:rPr>
            <a:t>Secondary Outputs (AOP)</a:t>
          </a:r>
        </a:p>
      </dsp:txBody>
      <dsp:txXfrm>
        <a:off x="6879020" y="0"/>
        <a:ext cx="2060900" cy="408158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9/3/layout/BlockDescendingList">
  <dgm:title val=""/>
  <dgm:desc val=""/>
  <dgm:catLst>
    <dgm:cat type="list" pri="18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12">
          <dgm:prSet phldr="1"/>
        </dgm:pt>
        <dgm:pt modelId="20">
          <dgm:prSet phldr="1"/>
        </dgm:pt>
        <dgm:pt modelId="21">
          <dgm:prSet phldr="1"/>
        </dgm:pt>
        <dgm:pt modelId="22">
          <dgm:prSet phldr="1"/>
        </dgm:pt>
        <dgm:pt modelId="30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0" srcId="0" destId="10" srcOrd="0" destOrd="0"/>
        <dgm:cxn modelId="13" srcId="10" destId="11" srcOrd="0" destOrd="0"/>
        <dgm:cxn modelId="14" srcId="10" destId="12" srcOrd="0" destOrd="0"/>
        <dgm:cxn modelId="50" srcId="0" destId="20" srcOrd="1" destOrd="0"/>
        <dgm:cxn modelId="23" srcId="20" destId="21" srcOrd="0" destOrd="0"/>
        <dgm:cxn modelId="24" srcId="20" destId="22" srcOrd="0" destOrd="0"/>
        <dgm:cxn modelId="60" srcId="0" destId="30" srcOrd="2" destOrd="0"/>
        <dgm:cxn modelId="33" srcId="30" destId="31" srcOrd="0" destOrd="0"/>
        <dgm:cxn modelId="34" srcId="30" destId="32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40" srcId="0" destId="10" srcOrd="0" destOrd="0"/>
        <dgm:cxn modelId="5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  <dgm:pt modelId="30">
          <dgm:prSet phldr="1"/>
        </dgm:pt>
        <dgm:pt modelId="70">
          <dgm:prSet phldr="1"/>
        </dgm:pt>
      </dgm:ptLst>
      <dgm:cxnLst>
        <dgm:cxn modelId="40" srcId="0" destId="10" srcOrd="0" destOrd="0"/>
        <dgm:cxn modelId="50" srcId="0" destId="20" srcOrd="1" destOrd="0"/>
        <dgm:cxn modelId="60" srcId="0" destId="30" srcOrd="2" destOrd="0"/>
        <dgm:cxn modelId="80" srcId="0" destId="70" srcOrd="3" destOrd="0"/>
      </dgm:cxnLst>
      <dgm:bg/>
      <dgm:whole/>
    </dgm:dataModel>
  </dgm:clrData>
  <dgm:layoutNode name="Name0">
    <dgm:varLst>
      <dgm:chMax val="7"/>
      <dgm:chPref val="7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alg type="composite">
          <dgm:param type="ar" val="0.5516"/>
        </dgm:alg>
        <dgm:choose name="Name3">
          <dgm:if name="Name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if>
          <dgm:else name="Name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l" for="ch" forName="accentShape_1" refType="w" fact="0"/>
              <dgm:constr type="t" for="ch" forName="accentShape_1" refType="h" fact="0"/>
              <dgm:constr type="w" for="ch" forName="accentShape_1" refType="w" fact="0.7146"/>
              <dgm:constr type="h" for="ch" forName="accentShape_1" refType="h" fact="0.9952"/>
              <dgm:constr type="l" for="ch" forName="parentText_1" refType="w" fact="0.513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</dgm:constrLst>
          </dgm:else>
        </dgm:choose>
      </dgm:if>
      <dgm:if name="Name6" axis="ch" ptType="node" func="cnt" op="equ" val="2">
        <dgm:alg type="composite">
          <dgm:param type="ar" val="0.9804"/>
        </dgm:alg>
        <dgm:choose name="Name7">
          <dgm:if name="Name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2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1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1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2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if>
          <dgm:else name="Name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parentText_2" refType="primFontSz" refFor="des" refForName="parentText_1" op="equ"/>
              <dgm:constr type="primFontSz" for="des" forName="childText_2" refType="primFontSz" refFor="des" refForName="childText_1" op="equ"/>
              <dgm:constr type="l" for="ch" forName="accentShape_1" refType="w" fact="0.4393"/>
              <dgm:constr type="t" for="ch" forName="accentShape_2" refType="h" fact="0.1192"/>
              <dgm:constr type="w" for="ch" forName="accentShape_2" refType="w" fact="0.4021"/>
              <dgm:constr type="h" for="ch" forName="accentShape_2" refType="h" fact="0.876"/>
              <dgm:constr type="l" for="ch" forName="accentShape_2" refType="w" fact="0"/>
              <dgm:constr type="t" for="ch" forName="accentShape_1" refType="h" fact="0"/>
              <dgm:constr type="w" for="ch" forName="accentShape_1" refType="w" fact="0.4021"/>
              <dgm:constr type="h" for="ch" forName="accentShape_1" refType="h" fact="0.9952"/>
              <dgm:constr type="l" for="ch" forName="parentText_2" refType="w" fact="0.294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fact="0.78"/>
              <dgm:constr type="l" for="ch" forName="parentText_1" refType="w" fact="0.7339"/>
              <dgm:constr type="t" for="ch" forName="parentText_2" refType="h" fact="0.1192"/>
              <dgm:constr type="w" for="ch" forName="parentText_2" refType="w" refFor="ch" refForName="accentShape_1" fact="0.26"/>
              <dgm:constr type="h" for="ch" forName="parentText_2" refType="h" fact="0.78"/>
              <dgm:constr type="l" for="ch" forName="childText_2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1" refType="w" fact="0.439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</dgm:constrLst>
          </dgm:else>
        </dgm:choose>
      </dgm:if>
      <dgm:if name="Name10" axis="ch" ptType="node" func="cnt" op="equ" val="3">
        <dgm:alg type="composite">
          <dgm:param type="ar" val="1.4097"/>
        </dgm:alg>
        <dgm:choose name="Name11">
          <dgm:if name="Name12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3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1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if>
          <dgm:else name="Name13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l" for="ch" forName="accentShape_3" refType="w" fact="0"/>
              <dgm:constr type="t" for="ch" forName="accentShape_1" refType="h" fact="0"/>
              <dgm:constr type="w" for="ch" forName="accentShape_1" refType="w" fact="0.2796"/>
              <dgm:constr type="h" for="ch" forName="accentShape_1" refType="h" fact="0.9952"/>
              <dgm:constr type="l" for="ch" forName="accentShape_2" refType="w" fact="0.3055"/>
              <dgm:constr type="t" for="ch" forName="accentShape_2" refType="h" fact="0.1192"/>
              <dgm:constr type="w" for="ch" forName="accentShape_2" refType="w" fact="0.2796"/>
              <dgm:constr type="h" for="ch" forName="accentShape_2" refType="h" fact="0.876"/>
              <dgm:constr type="l" for="ch" forName="accentShape_1" refType="w" fact="0.6101"/>
              <dgm:constr type="t" for="ch" forName="accentShape_3" refType="h" fact="0.2457"/>
              <dgm:constr type="w" for="ch" forName="accentShape_3" refType="w" fact="0.2796"/>
              <dgm:constr type="h" for="ch" forName="accentShape_3" refType="h" fact="0.7499"/>
              <dgm:constr type="l" for="ch" forName="parentText_3" refType="w" fact="0.2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5055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1" refType="w" fact="0.8101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childText_3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3055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1" refType="w" fact="0.6101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</dgm:constrLst>
          </dgm:else>
        </dgm:choose>
      </dgm:if>
      <dgm:if name="Name14" axis="ch" ptType="node" func="cnt" op="equ" val="4">
        <dgm:alg type="composite">
          <dgm:param type="ar" val="1.8305"/>
        </dgm:alg>
        <dgm:choose name="Name15">
          <dgm:if name="Name16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2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3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4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1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3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4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if>
          <dgm:else name="Name17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l" for="ch" forName="accentShape_4" refType="w" fact="0"/>
              <dgm:constr type="t" for="ch" forName="accentShape_1" refType="h" fact="0"/>
              <dgm:constr type="w" for="ch" forName="accentShape_1" refType="w" fact="0.2153"/>
              <dgm:constr type="h" for="ch" forName="accentShape_1" refType="h" fact="0.9952"/>
              <dgm:constr type="l" for="ch" forName="accentShape_3" refType="w" fact="0.2353"/>
              <dgm:constr type="t" for="ch" forName="accentShape_2" refType="h" fact="0.1192"/>
              <dgm:constr type="w" for="ch" forName="accentShape_2" refType="w" fact="0.2153"/>
              <dgm:constr type="h" for="ch" forName="accentShape_2" refType="h" fact="0.876"/>
              <dgm:constr type="l" for="ch" forName="accentShape_2" refType="w" fact="0.4699"/>
              <dgm:constr type="t" for="ch" forName="accentShape_3" refType="h" fact="0.2457"/>
              <dgm:constr type="w" for="ch" forName="accentShape_3" refType="w" fact="0.2153"/>
              <dgm:constr type="h" for="ch" forName="accentShape_3" refType="h" fact="0.7495"/>
              <dgm:constr type="l" for="ch" forName="accentShape_1" refType="w" fact="0.6997"/>
              <dgm:constr type="t" for="ch" forName="accentShape_4" refType="h" fact="0.3696"/>
              <dgm:constr type="w" for="ch" forName="accentShape_4" refType="w" fact="0.2153"/>
              <dgm:constr type="h" for="ch" forName="accentShape_4" refType="h" fact="0.6256"/>
              <dgm:constr type="l" for="ch" forName="parentText_4" refType="w" fact="0.16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3" refType="w" fact="0.3953"/>
              <dgm:constr type="t" for="ch" forName="parentText_2" refType="h" fact="0.1192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2" refType="w" fact="0.629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1" refType="w" fact="0.8597"/>
              <dgm:constr type="t" for="ch" forName="parentText_4" refType="h" fact="0.3696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childText_4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3" refType="w" fact="0.2353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808"/>
              <dgm:constr type="l" for="ch" forName="childText_2" refType="w" fact="0.4699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543"/>
              <dgm:constr type="l" for="ch" forName="childText_1" refType="w" fact="0.6997"/>
              <dgm:constr type="t" for="ch" forName="childText_4" refType="h" fact="0.3696"/>
              <dgm:constr type="w" for="ch" forName="childText_4" refType="w" refFor="ch" refForName="accentShape_4" fact="0.71"/>
              <dgm:constr type="h" for="ch" forName="childText_4" refType="h" fact="0.6261"/>
            </dgm:constrLst>
          </dgm:else>
        </dgm:choose>
      </dgm:if>
      <dgm:if name="Name18" axis="ch" ptType="node" func="cnt" op="equ" val="5">
        <dgm:alg type="composite">
          <dgm:param type="ar" val="2.0125"/>
        </dgm:alg>
        <dgm:choose name="Name19">
          <dgm:if name="Name20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2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4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5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1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2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4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17"/>
              <dgm:constr type="l" for="ch" forName="childText_5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56"/>
            </dgm:constrLst>
          </dgm:if>
          <dgm:else name="Name21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l" for="ch" forName="accentShape_5" refType="w" fact="0"/>
              <dgm:constr type="t" for="ch" forName="accentShape_1" refType="h" fact="0"/>
              <dgm:constr type="w" for="ch" forName="accentShape_1" refType="w" fact="0.1759"/>
              <dgm:constr type="h" for="ch" forName="accentShape_1" refType="h" fact="0.9952"/>
              <dgm:constr type="l" for="ch" forName="accentShape_4" refType="w" fact="0.192"/>
              <dgm:constr type="t" for="ch" forName="accentShape_2" refType="h" fact="0.1196"/>
              <dgm:constr type="w" for="ch" forName="accentShape_2" refType="w" fact="0.1759"/>
              <dgm:constr type="h" for="ch" forName="accentShape_2" refType="h" fact="0.876"/>
              <dgm:constr type="l" for="ch" forName="accentShape_3" refType="w" fact="0.384"/>
              <dgm:constr type="t" for="ch" forName="accentShape_3" refType="h" fact="0.2457"/>
              <dgm:constr type="w" for="ch" forName="accentShape_3" refType="w" fact="0.1759"/>
              <dgm:constr type="h" for="ch" forName="accentShape_3" refType="h" fact="0.7499"/>
              <dgm:constr type="l" for="ch" forName="accentShape_2" refType="w" fact="0.5759"/>
              <dgm:constr type="t" for="ch" forName="accentShape_4" refType="h" fact="0.3739"/>
              <dgm:constr type="w" for="ch" forName="accentShape_4" refType="w" fact="0.1759"/>
              <dgm:constr type="h" for="ch" forName="accentShape_4" refType="h" fact="0.6217"/>
              <dgm:constr type="l" for="ch" forName="accentShape_1" refType="w" fact="0.7679"/>
              <dgm:constr type="t" for="ch" forName="accentShape_5" refType="h" fact="0.5"/>
              <dgm:constr type="w" for="ch" forName="accentShape_5" refType="w" fact="0.1759"/>
              <dgm:constr type="h" for="ch" forName="accentShape_5" refType="h" fact="0.4956"/>
              <dgm:constr type="l" for="ch" forName="parentText_5" refType="w" fact="0.12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4" refType="w" fact="0.317"/>
              <dgm:constr type="t" for="ch" forName="parentText_2" refType="h" fact="0.1196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509"/>
              <dgm:constr type="t" for="ch" forName="parentText_3" refType="h" fact="0.2457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2" refType="w" fact="0.7009"/>
              <dgm:constr type="t" for="ch" forName="parentText_4" refType="h" fact="0.373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1" refType="w" fact="0.8929"/>
              <dgm:constr type="t" for="ch" forName="parentText_5" refType="h" fact="0.5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childText_5" refType="w" fact="0"/>
              <dgm:constr type="t" for="ch" forName="childText_1" refType="h" fact="0"/>
              <dgm:constr type="w" for="ch" forName="childText_1" refType="w" refFor="ch" refForName="accentShape_1" fact="0.71"/>
              <dgm:constr type="h" for="ch" forName="childText_1" refType="h"/>
              <dgm:constr type="l" for="ch" forName="childText_4" refType="w" fact="0.192"/>
              <dgm:constr type="t" for="ch" forName="childText_2" refType="h" fact="0.1192"/>
              <dgm:constr type="w" for="ch" forName="childText_2" refType="w" refFor="ch" refForName="accentShape_2" fact="0.71"/>
              <dgm:constr type="h" for="ch" forName="childText_2" refType="h" fact="0.876"/>
              <dgm:constr type="l" for="ch" forName="childText_3" refType="w" fact="0.384"/>
              <dgm:constr type="t" for="ch" forName="childText_3" refType="h" fact="0.2457"/>
              <dgm:constr type="w" for="ch" forName="childText_3" refType="w" refFor="ch" refForName="accentShape_3" fact="0.71"/>
              <dgm:constr type="h" for="ch" forName="childText_3" refType="h" fact="0.7499"/>
              <dgm:constr type="l" for="ch" forName="childText_2" refType="w" fact="0.5759"/>
              <dgm:constr type="t" for="ch" forName="childText_4" refType="h" fact="0.3739"/>
              <dgm:constr type="w" for="ch" forName="childText_4" refType="w" refFor="ch" refForName="accentShape_4" fact="0.71"/>
              <dgm:constr type="h" for="ch" forName="childText_4" refType="h" fact="0.6261"/>
              <dgm:constr type="l" for="ch" forName="childText_1" refType="w" fact="0.7679"/>
              <dgm:constr type="t" for="ch" forName="childText_5" refType="h" fact="0.5001"/>
              <dgm:constr type="w" for="ch" forName="childText_5" refType="w" refFor="ch" refForName="accentShape_5" fact="0.71"/>
              <dgm:constr type="h" for="ch" forName="childText_5" refType="h" fact="0.4999"/>
            </dgm:constrLst>
          </dgm:else>
        </dgm:choose>
      </dgm:if>
      <dgm:if name="Name22" axis="ch" ptType="node" func="cnt" op="equ" val="6">
        <dgm:alg type="composite">
          <dgm:param type="ar" val="2.4006"/>
        </dgm:alg>
        <dgm:shape xmlns:r="http://schemas.openxmlformats.org/officeDocument/2006/relationships" r:blip="">
          <dgm:adjLst/>
        </dgm:shape>
        <dgm:choose name="Name23">
          <dgm:if name="Name24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2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3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4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5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6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1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if>
          <dgm:else name="Name25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l" for="ch" forName="accentShape_6" refType="w" fact="0"/>
              <dgm:constr type="t" for="ch" forName="accentShape_1" refType="h" fact="0"/>
              <dgm:constr type="w" for="ch" forName="accentShape_1" refType="w" fact="0.1473"/>
              <dgm:constr type="h" for="ch" forName="accentShape_1" refType="h"/>
              <dgm:constr type="l" for="ch" forName="accentShape_5" refType="w" fact="0.1608"/>
              <dgm:constr type="t" for="ch" forName="accentShape_2" refType="h" fact="0.1"/>
              <dgm:constr type="w" for="ch" forName="accentShape_2" refType="w" fact="0.1473"/>
              <dgm:constr type="h" for="ch" forName="accentShape_2" refType="h" fact="0.9"/>
              <dgm:constr type="l" for="ch" forName="accentShape_4" refType="w" fact="0.3216"/>
              <dgm:constr type="t" for="ch" forName="accentShape_3" refType="h" fact="0.2"/>
              <dgm:constr type="w" for="ch" forName="accentShape_3" refType="w" fact="0.1473"/>
              <dgm:constr type="h" for="ch" forName="accentShape_3" refType="h" fact="0.8"/>
              <dgm:constr type="l" for="ch" forName="accentShape_3" refType="w" fact="0.4824"/>
              <dgm:constr type="t" for="ch" forName="accentShape_4" refType="h" fact="0.3"/>
              <dgm:constr type="w" for="ch" forName="accentShape_4" refType="w" fact="0.1473"/>
              <dgm:constr type="h" for="ch" forName="accentShape_4" refType="h" fact="0.7"/>
              <dgm:constr type="l" for="ch" forName="accentShape_2" refType="w" fact="0.6432"/>
              <dgm:constr type="t" for="ch" forName="accentShape_5" refType="h" fact="0.4"/>
              <dgm:constr type="w" for="ch" forName="accentShape_5" refType="w" fact="0.1473"/>
              <dgm:constr type="h" for="ch" forName="accentShape_5" refType="h" fact="0.6"/>
              <dgm:constr type="l" for="ch" forName="accentShape_1" refType="w" fact="0.8056"/>
              <dgm:constr type="t" for="ch" forName="accentShape_6" refType="h" fact="0.5"/>
              <dgm:constr type="w" for="ch" forName="accentShape_6" refType="w" fact="0.1473"/>
              <dgm:constr type="h" for="ch" forName="accentShape_6" refType="h" fact="0.5"/>
              <dgm:constr type="l" for="ch" forName="childText_6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5" refType="w" fact="0.1608"/>
              <dgm:constr type="t" for="ch" forName="childText_2" refType="h" fact="0.1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4" refType="w" fact="0.3216"/>
              <dgm:constr type="t" for="ch" forName="childText_3" refType="h" fact="0.2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3" refType="w" fact="0.4824"/>
              <dgm:constr type="t" for="ch" forName="childText_4" refType="h" fact="0.3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2" refType="w" fact="0.6432"/>
              <dgm:constr type="t" for="ch" forName="childText_5" refType="h" fact="0.4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1" refType="w" fact="0.8056"/>
              <dgm:constr type="t" for="ch" forName="childText_6" refType="h" fact="0.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parentText_6" refType="w" fact="0.1045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5" refType="w" fact="0.2653"/>
              <dgm:constr type="t" for="ch" forName="parentText_2" refType="h" fact="0.1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4" refType="w" fact="0.4261"/>
              <dgm:constr type="t" for="ch" forName="parentText_3" refType="h" fact="0.2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3" refType="w" fact="0.5869"/>
              <dgm:constr type="t" for="ch" forName="parentText_4" refType="h" fact="0.3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2" refType="w" fact="0.7477"/>
              <dgm:constr type="t" for="ch" forName="parentText_5" refType="h" fact="0.4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1" refType="w" fact="0.9101"/>
              <dgm:constr type="t" for="ch" forName="parentText_6" refType="h" fact="0.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</dgm:constrLst>
          </dgm:else>
        </dgm:choose>
      </dgm:if>
      <dgm:else name="Name26">
        <dgm:alg type="composite">
          <dgm:param type="ar" val="2.7874"/>
        </dgm:alg>
        <dgm:shape xmlns:r="http://schemas.openxmlformats.org/officeDocument/2006/relationships" r:blip="">
          <dgm:adjLst/>
        </dgm:shape>
        <dgm:choose name="Name27">
          <dgm:if name="Name28" func="var" arg="dir" op="equ" val="norm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1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2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3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5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6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7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1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2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3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5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6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7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1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2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3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5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6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7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if>
          <dgm:else name="Name29">
            <dgm:constrLst>
              <dgm:constr type="primFontSz" for="des" forName="childText_1" val="65"/>
              <dgm:constr type="primFontSz" for="des" forName="parentText_1" val="65"/>
              <dgm:constr type="primFontSz" for="des" forName="childText_1" refType="primFontSz" refFor="des" refForName="parentText_1" op="lte"/>
              <dgm:constr type="primFontSz" for="des" forName="childText_2" refType="primFontSz" refFor="des" refForName="parentText_1" op="lte"/>
              <dgm:constr type="primFontSz" for="des" forName="childText_3" refType="primFontSz" refFor="des" refForName="parentText_1" op="lte"/>
              <dgm:constr type="primFontSz" for="des" forName="childText_4" refType="primFontSz" refFor="des" refForName="parentText_1" op="lte"/>
              <dgm:constr type="primFontSz" for="des" forName="childText_5" refType="primFontSz" refFor="des" refForName="parentText_1" op="lte"/>
              <dgm:constr type="primFontSz" for="des" forName="childText_6" refType="primFontSz" refFor="des" refForName="parentText_1" op="lte"/>
              <dgm:constr type="primFontSz" for="des" forName="childText_7" refType="primFontSz" refFor="des" refForName="parentText_1" op="lte"/>
              <dgm:constr type="primFontSz" for="des" forName="childText_1" refType="primFontSz" refFor="des" refForName="parentText_2" op="lte"/>
              <dgm:constr type="primFontSz" for="des" forName="childText_2" refType="primFontSz" refFor="des" refForName="parentText_2" op="lte"/>
              <dgm:constr type="primFontSz" for="des" forName="childText_3" refType="primFontSz" refFor="des" refForName="parentText_2" op="lte"/>
              <dgm:constr type="primFontSz" for="des" forName="childText_4" refType="primFontSz" refFor="des" refForName="parentText_2" op="lte"/>
              <dgm:constr type="primFontSz" for="des" forName="childText_5" refType="primFontSz" refFor="des" refForName="parentText_2" op="lte"/>
              <dgm:constr type="primFontSz" for="des" forName="childText_6" refType="primFontSz" refFor="des" refForName="parentText_2" op="lte"/>
              <dgm:constr type="primFontSz" for="des" forName="childText_7" refType="primFontSz" refFor="des" refForName="parentText_2" op="lte"/>
              <dgm:constr type="primFontSz" for="des" forName="childText_1" refType="primFontSz" refFor="des" refForName="parentText_3" op="lte"/>
              <dgm:constr type="primFontSz" for="des" forName="childText_2" refType="primFontSz" refFor="des" refForName="parentText_3" op="lte"/>
              <dgm:constr type="primFontSz" for="des" forName="childText_3" refType="primFontSz" refFor="des" refForName="parentText_3" op="lte"/>
              <dgm:constr type="primFontSz" for="des" forName="childText_4" refType="primFontSz" refFor="des" refForName="parentText_3" op="lte"/>
              <dgm:constr type="primFontSz" for="des" forName="childText_5" refType="primFontSz" refFor="des" refForName="parentText_3" op="lte"/>
              <dgm:constr type="primFontSz" for="des" forName="childText_6" refType="primFontSz" refFor="des" refForName="parentText_3" op="lte"/>
              <dgm:constr type="primFontSz" for="des" forName="childText_7" refType="primFontSz" refFor="des" refForName="parentText_3" op="lte"/>
              <dgm:constr type="primFontSz" for="des" forName="childText_1" refType="primFontSz" refFor="des" refForName="parentText_4" op="lte"/>
              <dgm:constr type="primFontSz" for="des" forName="childText_2" refType="primFontSz" refFor="des" refForName="parentText_4" op="lte"/>
              <dgm:constr type="primFontSz" for="des" forName="childText_3" refType="primFontSz" refFor="des" refForName="parentText_4" op="lte"/>
              <dgm:constr type="primFontSz" for="des" forName="childText_4" refType="primFontSz" refFor="des" refForName="parentText_4" op="lte"/>
              <dgm:constr type="primFontSz" for="des" forName="childText_5" refType="primFontSz" refFor="des" refForName="parentText_4" op="lte"/>
              <dgm:constr type="primFontSz" for="des" forName="childText_6" refType="primFontSz" refFor="des" refForName="parentText_4" op="lte"/>
              <dgm:constr type="primFontSz" for="des" forName="childText_7" refType="primFontSz" refFor="des" refForName="parentText_4" op="lte"/>
              <dgm:constr type="primFontSz" for="des" forName="childText_1" refType="primFontSz" refFor="des" refForName="parentText_5" op="lte"/>
              <dgm:constr type="primFontSz" for="des" forName="childText_2" refType="primFontSz" refFor="des" refForName="parentText_5" op="lte"/>
              <dgm:constr type="primFontSz" for="des" forName="childText_3" refType="primFontSz" refFor="des" refForName="parentText_5" op="lte"/>
              <dgm:constr type="primFontSz" for="des" forName="childText_4" refType="primFontSz" refFor="des" refForName="parentText_5" op="lte"/>
              <dgm:constr type="primFontSz" for="des" forName="childText_5" refType="primFontSz" refFor="des" refForName="parentText_5" op="lte"/>
              <dgm:constr type="primFontSz" for="des" forName="childText_6" refType="primFontSz" refFor="des" refForName="parentText_5" op="lte"/>
              <dgm:constr type="primFontSz" for="des" forName="childText_7" refType="primFontSz" refFor="des" refForName="parentText_5" op="lte"/>
              <dgm:constr type="primFontSz" for="des" forName="childText_1" refType="primFontSz" refFor="des" refForName="parentText_6" op="lte"/>
              <dgm:constr type="primFontSz" for="des" forName="childText_2" refType="primFontSz" refFor="des" refForName="parentText_6" op="lte"/>
              <dgm:constr type="primFontSz" for="des" forName="childText_3" refType="primFontSz" refFor="des" refForName="parentText_6" op="lte"/>
              <dgm:constr type="primFontSz" for="des" forName="childText_4" refType="primFontSz" refFor="des" refForName="parentText_6" op="lte"/>
              <dgm:constr type="primFontSz" for="des" forName="childText_5" refType="primFontSz" refFor="des" refForName="parentText_6" op="lte"/>
              <dgm:constr type="primFontSz" for="des" forName="childText_6" refType="primFontSz" refFor="des" refForName="parentText_6" op="lte"/>
              <dgm:constr type="primFontSz" for="des" forName="childText_7" refType="primFontSz" refFor="des" refForName="parentText_6" op="lte"/>
              <dgm:constr type="primFontSz" for="des" forName="childText_1" refType="primFontSz" refFor="des" refForName="parentText_7" op="lte"/>
              <dgm:constr type="primFontSz" for="des" forName="childText_2" refType="primFontSz" refFor="des" refForName="parentText_7" op="lte"/>
              <dgm:constr type="primFontSz" for="des" forName="childText_3" refType="primFontSz" refFor="des" refForName="parentText_7" op="lte"/>
              <dgm:constr type="primFontSz" for="des" forName="childText_4" refType="primFontSz" refFor="des" refForName="parentText_7" op="lte"/>
              <dgm:constr type="primFontSz" for="des" forName="childText_5" refType="primFontSz" refFor="des" refForName="parentText_7" op="lte"/>
              <dgm:constr type="primFontSz" for="des" forName="childText_6" refType="primFontSz" refFor="des" refForName="parentText_7" op="lte"/>
              <dgm:constr type="primFontSz" for="des" forName="childText_7" refType="primFontSz" refFor="des" refForName="parentText_7" op="lte"/>
              <dgm:constr type="primFontSz" for="des" forName="parentText_2" refType="primFontSz" refFor="des" refForName="parentText_1" op="equ"/>
              <dgm:constr type="primFontSz" for="des" forName="parentText_3" refType="primFontSz" refFor="des" refForName="parentText_1" op="equ"/>
              <dgm:constr type="primFontSz" for="des" forName="parentText_4" refType="primFontSz" refFor="des" refForName="parentText_1" op="equ"/>
              <dgm:constr type="primFontSz" for="des" forName="parentText_5" refType="primFontSz" refFor="des" refForName="parentText_1" op="equ"/>
              <dgm:constr type="primFontSz" for="des" forName="parentText_6" refType="primFontSz" refFor="des" refForName="parentText_1" op="equ"/>
              <dgm:constr type="primFontSz" for="des" forName="parentText_7" refType="primFontSz" refFor="des" refForName="parentText_1" op="equ"/>
              <dgm:constr type="primFontSz" for="des" forName="childText_2" refType="primFontSz" refFor="des" refForName="childText_1" op="equ"/>
              <dgm:constr type="primFontSz" for="des" forName="childText_3" refType="primFontSz" refFor="des" refForName="childText_1" op="equ"/>
              <dgm:constr type="primFontSz" for="des" forName="childText_4" refType="primFontSz" refFor="des" refForName="childText_1" op="equ"/>
              <dgm:constr type="primFontSz" for="des" forName="childText_5" refType="primFontSz" refFor="des" refForName="childText_1" op="equ"/>
              <dgm:constr type="primFontSz" for="des" forName="childText_6" refType="primFontSz" refFor="des" refForName="childText_1" op="equ"/>
              <dgm:constr type="primFontSz" for="des" forName="childText_7" refType="primFontSz" refFor="des" refForName="childText_1" op="equ"/>
              <dgm:constr type="l" for="ch" forName="accentShape_7" refType="w" fact="0"/>
              <dgm:constr type="t" for="ch" forName="accentShape_1" refType="h" fact="0"/>
              <dgm:constr type="w" for="ch" forName="accentShape_1" refType="w" fact="0.1269"/>
              <dgm:constr type="h" for="ch" forName="accentShape_1" refType="h"/>
              <dgm:constr type="l" for="ch" forName="accentShape_6" refType="w" fact="0.1385"/>
              <dgm:constr type="t" for="ch" forName="accentShape_2" refType="h" fact="0.0833"/>
              <dgm:constr type="w" for="ch" forName="accentShape_2" refType="w" fact="0.1269"/>
              <dgm:constr type="h" for="ch" forName="accentShape_2" refType="h" fact="0.9165"/>
              <dgm:constr type="l" for="ch" forName="accentShape_5" refType="w" fact="0.277"/>
              <dgm:constr type="t" for="ch" forName="accentShape_3" refType="h" fact="0.1666"/>
              <dgm:constr type="w" for="ch" forName="accentShape_3" refType="w" fact="0.1269"/>
              <dgm:constr type="h" for="ch" forName="accentShape_3" refType="h" fact="0.8332"/>
              <dgm:constr type="l" for="ch" forName="accentShape_4" refType="w" fact="0.4155"/>
              <dgm:constr type="t" for="ch" forName="accentShape_4" refType="h" fact="0.2499"/>
              <dgm:constr type="w" for="ch" forName="accentShape_4" refType="w" fact="0.1269"/>
              <dgm:constr type="h" for="ch" forName="accentShape_4" refType="h" fact="0.7499"/>
              <dgm:constr type="l" for="ch" forName="accentShape_3" refType="w" fact="0.5539"/>
              <dgm:constr type="t" for="ch" forName="accentShape_5" refType="h" fact="0.3332"/>
              <dgm:constr type="w" for="ch" forName="accentShape_5" refType="w" fact="0.1269"/>
              <dgm:constr type="h" for="ch" forName="accentShape_5" refType="h" fact="0.6666"/>
              <dgm:constr type="l" for="ch" forName="accentShape_2" refType="w" fact="0.6938"/>
              <dgm:constr type="t" for="ch" forName="accentShape_6" refType="h" fact="0.4165"/>
              <dgm:constr type="w" for="ch" forName="accentShape_6" refType="w" fact="0.1269"/>
              <dgm:constr type="h" for="ch" forName="accentShape_6" refType="h" fact="0.5833"/>
              <dgm:constr type="l" for="ch" forName="accentShape_1" refType="w" fact="0.8326"/>
              <dgm:constr type="t" for="ch" forName="accentShape_7" refType="h" fact="0.5"/>
              <dgm:constr type="w" for="ch" forName="accentShape_7" refType="w" fact="0.1269"/>
              <dgm:constr type="h" for="ch" forName="accentShape_7" refType="h" fact="0.5"/>
              <dgm:constr type="l" for="ch" forName="parentText_7" refType="w" fact="0.0888"/>
              <dgm:constr type="t" for="ch" forName="parentText_1" refType="h" fact="0"/>
              <dgm:constr type="w" for="ch" forName="parentText_1" refType="w" refFor="ch" refForName="accentShape_1" fact="0.26"/>
              <dgm:constr type="h" for="ch" forName="parentText_1" refType="h" refFor="ch" refForName="accentShape_1" fact="0.9"/>
              <dgm:constr type="l" for="ch" forName="parentText_6" refType="w" fact="0.2273"/>
              <dgm:constr type="t" for="ch" forName="parentText_2" refType="h" fact="0.0833"/>
              <dgm:constr type="w" for="ch" forName="parentText_2" refType="w" refFor="ch" refForName="accentShape_2" fact="0.26"/>
              <dgm:constr type="h" for="ch" forName="parentText_2" refType="h" refFor="ch" refForName="accentShape_2" fact="0.9"/>
              <dgm:constr type="l" for="ch" forName="parentText_5" refType="w" fact="0.36583"/>
              <dgm:constr type="t" for="ch" forName="parentText_3" refType="h" fact="0.1666"/>
              <dgm:constr type="w" for="ch" forName="parentText_3" refType="w" refFor="ch" refForName="accentShape_3" fact="0.26"/>
              <dgm:constr type="h" for="ch" forName="parentText_3" refType="h" refFor="ch" refForName="accentShape_3" fact="0.9"/>
              <dgm:constr type="l" for="ch" forName="parentText_4" refType="w" fact="0.5043"/>
              <dgm:constr type="t" for="ch" forName="parentText_4" refType="h" fact="0.2499"/>
              <dgm:constr type="w" for="ch" forName="parentText_4" refType="w" refFor="ch" refForName="accentShape_4" fact="0.26"/>
              <dgm:constr type="h" for="ch" forName="parentText_4" refType="h" refFor="ch" refForName="accentShape_4" fact="0.9"/>
              <dgm:constr type="l" for="ch" forName="parentText_3" refType="w" fact="0.6427"/>
              <dgm:constr type="t" for="ch" forName="parentText_5" refType="h" fact="0.3332"/>
              <dgm:constr type="w" for="ch" forName="parentText_5" refType="w" refFor="ch" refForName="accentShape_5" fact="0.26"/>
              <dgm:constr type="h" for="ch" forName="parentText_5" refType="h" refFor="ch" refForName="accentShape_5" fact="0.9"/>
              <dgm:constr type="l" for="ch" forName="parentText_2" refType="w" fact="0.78263"/>
              <dgm:constr type="t" for="ch" forName="parentText_6" refType="h" fact="0.4165"/>
              <dgm:constr type="w" for="ch" forName="parentText_6" refType="w" refFor="ch" refForName="accentShape_6" fact="0.26"/>
              <dgm:constr type="h" for="ch" forName="parentText_6" refType="h" refFor="ch" refForName="accentShape_6" fact="0.9"/>
              <dgm:constr type="l" for="ch" forName="parentText_1" refType="w" fact="0.92143"/>
              <dgm:constr type="t" for="ch" forName="parentText_7" refType="h" fact="0.5"/>
              <dgm:constr type="w" for="ch" forName="parentText_7" refType="w" refFor="ch" refForName="accentShape_7" fact="0.26"/>
              <dgm:constr type="h" for="ch" forName="parentText_7" refType="h" refFor="ch" refForName="accentShape_7" fact="0.9"/>
              <dgm:constr type="l" for="ch" forName="childText_7" refType="w" fact="0"/>
              <dgm:constr type="t" for="ch" forName="childText_1" refType="h" fact="0"/>
              <dgm:constr type="w" for="ch" forName="childText_1" refType="w" refFor="ch" refForName="accentShape_1" fact="0.7"/>
              <dgm:constr type="h" for="ch" forName="childText_1" refType="h" refFor="ch" refForName="accentShape_1"/>
              <dgm:constr type="l" for="ch" forName="childText_6" refType="w" fact="0.1385"/>
              <dgm:constr type="t" for="ch" forName="childText_2" refType="h" fact="0.0833"/>
              <dgm:constr type="w" for="ch" forName="childText_2" refType="w" refFor="ch" refForName="accentShape_2" fact="0.7"/>
              <dgm:constr type="h" for="ch" forName="childText_2" refType="h" refFor="ch" refForName="accentShape_2"/>
              <dgm:constr type="l" for="ch" forName="childText_5" refType="w" fact="0.277"/>
              <dgm:constr type="t" for="ch" forName="childText_3" refType="h" fact="0.1666"/>
              <dgm:constr type="w" for="ch" forName="childText_3" refType="w" refFor="ch" refForName="accentShape_3" fact="0.7"/>
              <dgm:constr type="h" for="ch" forName="childText_3" refType="h" refFor="ch" refForName="accentShape_3"/>
              <dgm:constr type="l" for="ch" forName="childText_4" refType="w" fact="0.4155"/>
              <dgm:constr type="t" for="ch" forName="childText_4" refType="h" fact="0.2499"/>
              <dgm:constr type="w" for="ch" forName="childText_4" refType="w" refFor="ch" refForName="accentShape_4" fact="0.7"/>
              <dgm:constr type="h" for="ch" forName="childText_4" refType="h" refFor="ch" refForName="accentShape_4"/>
              <dgm:constr type="l" for="ch" forName="childText_3" refType="w" fact="0.5539"/>
              <dgm:constr type="t" for="ch" forName="childText_5" refType="h" fact="0.3332"/>
              <dgm:constr type="w" for="ch" forName="childText_5" refType="w" refFor="ch" refForName="accentShape_5" fact="0.7"/>
              <dgm:constr type="h" for="ch" forName="childText_5" refType="h" refFor="ch" refForName="accentShape_5"/>
              <dgm:constr type="l" for="ch" forName="childText_2" refType="w" fact="0.6938"/>
              <dgm:constr type="t" for="ch" forName="childText_6" refType="h" fact="0.4165"/>
              <dgm:constr type="w" for="ch" forName="childText_6" refType="w" refFor="ch" refForName="accentShape_6" fact="0.7"/>
              <dgm:constr type="h" for="ch" forName="childText_6" refType="h" refFor="ch" refForName="accentShape_6"/>
              <dgm:constr type="l" for="ch" forName="childText_1" refType="w" fact="0.8326"/>
              <dgm:constr type="t" for="ch" forName="childText_7" refType="h" fact="0.5"/>
              <dgm:constr type="w" for="ch" forName="childText_7" refType="w" refFor="ch" refForName="accentShape_7" fact="0.7"/>
              <dgm:constr type="h" for="ch" forName="childText_7" refType="h" refFor="ch" refForName="accentShape_7"/>
            </dgm:constrLst>
          </dgm:else>
        </dgm:choose>
      </dgm:else>
    </dgm:choose>
    <dgm:forEach name="wrapper" axis="self" ptType="parTrans">
      <dgm:forEach name="accentRepeat" axis="self">
        <dgm:layoutNode name="imageRepeatNode" styleLbl="node1">
          <dgm:alg type="sp"/>
          <dgm:shape xmlns:r="http://schemas.openxmlformats.org/officeDocument/2006/relationships" type="rect" r:blip="" zOrderOff="-10">
            <dgm:adjLst/>
          </dgm:shape>
          <dgm:presOf axis="self"/>
        </dgm:layoutNode>
      </dgm:forEach>
    </dgm:forEach>
    <dgm:forEach name="Name30" axis="ch" ptType="node" cnt="1">
      <dgm:layoutNode name="parentText_1" styleLbl="node1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1" styleLbl="node1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1">
        <dgm:alg type="sp"/>
        <dgm:shape xmlns:r="http://schemas.openxmlformats.org/officeDocument/2006/relationships" r:blip="">
          <dgm:adjLst/>
        </dgm:shape>
        <dgm:presOf/>
        <dgm:constrLst/>
        <dgm:forEach name="Name31" ref="accentRepeat"/>
      </dgm:layoutNode>
    </dgm:forEach>
    <dgm:forEach name="Name32" axis="ch" ptType="node" st="2" cnt="1">
      <dgm:layoutNode name="parentText_2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2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2">
        <dgm:alg type="sp"/>
        <dgm:shape xmlns:r="http://schemas.openxmlformats.org/officeDocument/2006/relationships" r:blip="">
          <dgm:adjLst/>
        </dgm:shape>
        <dgm:presOf/>
        <dgm:constrLst/>
        <dgm:forEach name="Name33" ref="accentRepeat"/>
      </dgm:layoutNode>
    </dgm:forEach>
    <dgm:forEach name="Name34" axis="ch" ptType="node" st="3" cnt="1">
      <dgm:layoutNode name="parentText_3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3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3">
        <dgm:alg type="sp"/>
        <dgm:shape xmlns:r="http://schemas.openxmlformats.org/officeDocument/2006/relationships" r:blip="">
          <dgm:adjLst/>
        </dgm:shape>
        <dgm:presOf/>
        <dgm:constrLst/>
        <dgm:forEach name="Name35" ref="accentRepeat"/>
      </dgm:layoutNode>
    </dgm:forEach>
    <dgm:forEach name="Name36" axis="ch" ptType="node" st="4" cnt="1">
      <dgm:layoutNode name="parentText_4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4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4">
        <dgm:alg type="sp"/>
        <dgm:shape xmlns:r="http://schemas.openxmlformats.org/officeDocument/2006/relationships" r:blip="">
          <dgm:adjLst/>
        </dgm:shape>
        <dgm:presOf/>
        <dgm:constrLst/>
        <dgm:forEach name="Name37" ref="accentRepeat"/>
      </dgm:layoutNode>
    </dgm:forEach>
    <dgm:forEach name="Name38" axis="ch" ptType="node" st="5" cnt="1">
      <dgm:layoutNode name="parentText_5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45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5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5">
        <dgm:alg type="sp"/>
        <dgm:shape xmlns:r="http://schemas.openxmlformats.org/officeDocument/2006/relationships" r:blip="">
          <dgm:adjLst/>
        </dgm:shape>
        <dgm:presOf/>
        <dgm:constrLst/>
        <dgm:forEach name="Name39" ref="accentRepeat"/>
      </dgm:layoutNode>
    </dgm:forEach>
    <dgm:forEach name="Name40" axis="ch" ptType="node" st="6" cnt="1">
      <dgm:layoutNode name="parentText_6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6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6">
        <dgm:alg type="sp"/>
        <dgm:shape xmlns:r="http://schemas.openxmlformats.org/officeDocument/2006/relationships" r:blip="">
          <dgm:adjLst/>
        </dgm:shape>
        <dgm:presOf/>
        <dgm:constrLst/>
        <dgm:forEach name="Name41" ref="accentRepeat"/>
      </dgm:layoutNode>
    </dgm:forEach>
    <dgm:forEach name="Name42" axis="ch" ptType="node" st="7" cnt="1">
      <dgm:layoutNode name="parentText_7">
        <dgm:varLst>
          <dgm:chMax val="1"/>
          <dgm:chPref val="1"/>
          <dgm:bulletEnabled val="1"/>
        </dgm:varLst>
        <dgm:alg type="tx">
          <dgm:param type="parTxLTRAlign" val="r"/>
          <dgm:param type="shpTxLTRAlignCh" val="r"/>
          <dgm:param type="txAnchorVertCh" val="mid"/>
          <dgm:param type="autoTxRot" val="grav"/>
        </dgm:alg>
        <dgm:shape xmlns:r="http://schemas.openxmlformats.org/officeDocument/2006/relationships" rot="-90" type="rect" r:blip="" hideGeom="1">
          <dgm:adjLst/>
        </dgm:shape>
        <dgm:presOf axis="self" ptType="node"/>
        <dgm:constrLst>
          <dgm:constr type="lMarg" refType="primFontSz" fact="0.3"/>
          <dgm:constr type="rMarg" refType="primFontSz" fact="0.3"/>
          <dgm:constr type="tMarg" refType="primFontSz" fact="0"/>
          <dgm:constr type="bMarg" refType="primFontSz" fact="0.1"/>
        </dgm:constrLst>
        <dgm:ruleLst>
          <dgm:rule type="primFontSz" val="5" fact="NaN" max="NaN"/>
        </dgm:ruleLst>
      </dgm:layoutNode>
      <dgm:layoutNode name="childText_7">
        <dgm:varLst>
          <dgm:chMax val="0"/>
          <dgm:chPref val="0"/>
          <dgm:bulletEnabled val="1"/>
        </dgm:varLst>
        <dgm:alg type="tx">
          <dgm:param type="txAnchorVert" val="t"/>
          <dgm:param type="parTxLTRAlign" val="l"/>
        </dgm:alg>
        <dgm:shape xmlns:r="http://schemas.openxmlformats.org/officeDocument/2006/relationships" type="rect" r:blip="" hideGeom="1">
          <dgm:adjLst/>
        </dgm:shape>
        <dgm:presOf axis="des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layoutNode name="accentShape_7">
        <dgm:alg type="sp"/>
        <dgm:shape xmlns:r="http://schemas.openxmlformats.org/officeDocument/2006/relationships" r:blip="">
          <dgm:adjLst/>
        </dgm:shape>
        <dgm:presOf/>
        <dgm:constrLst/>
        <dgm:forEach name="Name43" ref="accentRepeat"/>
      </dgm:layoutNod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8/layout/HorizontalMultiLevelHierarchy">
  <dgm:title val=""/>
  <dgm:desc val=""/>
  <dgm:catLst>
    <dgm:cat type="hierarchy" pri="46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</dgm:cxnLst>
      <dgm:bg/>
      <dgm:whole/>
    </dgm:dataModel>
  </dgm:clrData>
  <dgm:layoutNode name="Name0">
    <dgm:varLst>
      <dgm:chPref val="1"/>
      <dgm:dir/>
      <dgm:animOne val="branch"/>
      <dgm:animLvl val="lvl"/>
      <dgm:resizeHandles val="exact"/>
    </dgm:varLst>
    <dgm:choose name="Name1">
      <dgm:if name="Name2" func="var" arg="dir" op="equ" val="norm">
        <dgm:alg type="hierChild">
          <dgm:param type="linDir" val="fromT"/>
          <dgm:param type="chAlign" val="l"/>
        </dgm:alg>
      </dgm:if>
      <dgm:else name="Name3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forName="LevelOneTextNode" refType="h"/>
      <dgm:constr type="w" for="des" forName="LevelOneTextNode" refType="h" refFor="des" refForName="LevelOneTextNode" fact="0.19"/>
      <dgm:constr type="h" for="des" forName="LevelTwoTextNode" refType="w" refFor="des" refForName="LevelOneTextNode"/>
      <dgm:constr type="w" for="des" forName="LevelTwoTextNode" refType="h" refFor="des" refForName="LevelTwoTextNode" fact="3.28"/>
      <dgm:constr type="sibSp" refType="h" refFor="des" refForName="LevelTwoTextNode" op="equ" fact="0.25"/>
      <dgm:constr type="sibSp" for="des" forName="level2hierChild" refType="h" refFor="des" refForName="LevelTwoTextNode" op="equ" fact="0.25"/>
      <dgm:constr type="sibSp" for="des" forName="level3hierChild" refType="h" refFor="des" refForName="LevelTwoTextNode" op="equ" fact="0.25"/>
      <dgm:constr type="sp" for="des" forName="root1" refType="w" refFor="des" refForName="LevelTwoTextNode" fact="0.2"/>
      <dgm:constr type="sp" for="des" forName="root2" refType="sp" refFor="des" refForName="root1" op="equ"/>
      <dgm:constr type="primFontSz" for="des" forName="LevelOneTextNode" op="equ" val="65"/>
      <dgm:constr type="primFontSz" for="des" forName="LevelTwoTextNode" op="equ" val="65"/>
      <dgm:constr type="primFontSz" for="des" forName="LevelTwoTextNode" refType="primFontSz" refFor="des" refForName="LevelOneTextNode" op="lte"/>
      <dgm:constr type="primFontSz" for="des" forName="connTx" op="equ" val="50"/>
      <dgm:constr type="primFontSz" for="des" forName="connTx" refType="primFontSz" refFor="des" refForName="LevelOneTextNode" op="lte" fact="0.78"/>
    </dgm:constrLst>
    <dgm:forEach name="Name4" axis="ch">
      <dgm:forEach name="Name5" axis="self" ptType="node">
        <dgm:layoutNode name="root1">
          <dgm:choose name="Name6">
            <dgm:if name="Name7" func="var" arg="dir" op="equ" val="norm">
              <dgm:alg type="hierRoot">
                <dgm:param type="hierAlign" val="lCtrCh"/>
              </dgm:alg>
            </dgm:if>
            <dgm:else name="Name8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layoutNode name="LevelOneTextNode" styleLbl="node0">
            <dgm:varLst>
              <dgm:chPref val="3"/>
            </dgm:varLst>
            <dgm:alg type="tx">
              <dgm:param type="autoTxRot" val="grav"/>
            </dgm:alg>
            <dgm:choose name="Name9">
              <dgm:if name="Name10" func="var" arg="dir" op="equ" val="norm">
                <dgm:shape xmlns:r="http://schemas.openxmlformats.org/officeDocument/2006/relationships" rot="270" type="rect" r:blip="">
                  <dgm:adjLst/>
                </dgm:shape>
              </dgm:if>
              <dgm:else name="Name11">
                <dgm:shape xmlns:r="http://schemas.openxmlformats.org/officeDocument/2006/relationships" rot="90" type="rect" r:blip="">
                  <dgm:adjLst/>
                </dgm:shape>
              </dgm:else>
            </dgm:choos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2" fact="NaN" max="NaN"/>
            </dgm:ruleLst>
          </dgm:layoutNode>
          <dgm:layoutNode name="level2hierChild">
            <dgm:choose name="Name12">
              <dgm:if name="Name13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4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forEach name="repeat" axis="ch">
              <dgm:forEach name="Name15" axis="self" ptType="parTrans" cnt="1">
                <dgm:layoutNode name="conn2-1">
                  <dgm:choose name="Name16">
                    <dgm:if name="Name17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  <dgm:param type="connRout" val="bend"/>
                      </dgm:alg>
                    </dgm:if>
                    <dgm:else name="Name18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  <dgm:param type="connRout" val="bend"/>
                      </dgm:alg>
                    </dgm:else>
                  </dgm:choose>
                  <dgm:shape xmlns:r="http://schemas.openxmlformats.org/officeDocument/2006/relationships" type="conn" r:blip="" zOrderOff="-99999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9" axis="self" ptType="node">
                <dgm:layoutNode name="root2">
                  <dgm:choose name="Name20">
                    <dgm:if name="Name21" func="var" arg="dir" op="equ" val="norm">
                      <dgm:alg type="hierRoot">
                        <dgm:param type="hierAlign" val="lCtrCh"/>
                      </dgm:alg>
                    </dgm:if>
                    <dgm:else name="Name22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ect" r:blip="">
                      <dgm:adjLst/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2" fact="NaN" max="NaN"/>
                    </dgm:ruleLst>
                  </dgm:layoutNode>
                  <dgm:layoutNode name="level3hierChild">
                    <dgm:choose name="Name23">
                      <dgm:if name="Name24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5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forEach name="Name26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9/3/layout/IncreasingArrowsProcess">
  <dgm:title val=""/>
  <dgm:desc val=""/>
  <dgm:catLst>
    <dgm:cat type="process" pri="55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clrData>
  <dgm:layoutNode name="Name0">
    <dgm:varLst>
      <dgm:chMax val="5"/>
      <dgm:chPref val="5"/>
      <dgm:dir/>
      <dgm:animLvl val="lvl"/>
    </dgm:varLst>
    <dgm:shape xmlns:r="http://schemas.openxmlformats.org/officeDocument/2006/relationships" r:blip="">
      <dgm:adjLst/>
    </dgm:shape>
    <dgm:choose name="Name1">
      <dgm:if name="Name2" axis="ch" ptType="node" func="cnt" op="equ" val="1">
        <dgm:choose name="Name3">
          <dgm:if name="Name4" axis="ch ch" ptType="node node" func="cnt" op="equ" val="0">
            <dgm:alg type="composite">
              <dgm:param type="ar" val="6.8662"/>
            </dgm:alg>
            <dgm:choose name="Name5">
              <dgm:if name="Name6" func="var" arg="dir" op="equ" val="norm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if>
              <dgm:else name="Name7">
                <dgm:constrLst>
                  <dgm:constr type="primFontSz" for="des" forName="parentText1" val="65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/>
                </dgm:constrLst>
              </dgm:else>
            </dgm:choose>
          </dgm:if>
          <dgm:else name="Name8">
            <dgm:alg type="composite">
              <dgm:param type="ar" val="1.9864"/>
            </dgm:alg>
            <dgm:choose name="Name9">
              <dgm:if name="Name1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if>
              <dgm:else name="Name1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93"/>
                  <dgm:constr type="l" for="ch" forName="childText1" refType="w" fact="0.076"/>
                  <dgm:constr type="t" for="ch" forName="childText1" refType="h" fact="0.224"/>
                  <dgm:constr type="w" for="ch" forName="childText1" refType="w" fact="0.9241"/>
                  <dgm:constr type="h" for="ch" forName="childText1" refType="h" fact="0.776"/>
                </dgm:constrLst>
              </dgm:else>
            </dgm:choose>
          </dgm:else>
        </dgm:choose>
      </dgm:if>
      <dgm:if name="Name12" axis="ch" ptType="node" func="cnt" op="equ" val="2">
        <dgm:choose name="Name13">
          <dgm:if name="Name14" axis="ch ch" ptType="node node" func="cnt" op="equ" val="0">
            <dgm:alg type="composite">
              <dgm:param type="ar" val="5.1498"/>
            </dgm:alg>
            <dgm:choose name="Name15">
              <dgm:if name="Name1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.462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if>
              <dgm:else name="Name1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7501"/>
                  <dgm:constr type="l" for="ch" forName="parentText2" refType="w" fact="0"/>
                  <dgm:constr type="t" for="ch" forName="parentText2" refType="h" fact="0.2499"/>
                  <dgm:constr type="w" for="ch" forName="parentText2" refType="w" fact="0.538"/>
                  <dgm:constr type="h" for="ch" forName="parentText2" refType="h" fact="0.7501"/>
                </dgm:constrLst>
              </dgm:else>
            </dgm:choose>
          </dgm:if>
          <dgm:else name="Name18">
            <dgm:alg type="composite">
              <dgm:param type="ar" val="2.0563"/>
            </dgm:alg>
            <dgm:choose name="Name19">
              <dgm:if name="Name2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.462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462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if>
              <dgm:else name="Name2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parentText2" refType="primFontSz" refFor="des" refForName="parentText1" op="equ"/>
                  <dgm:constr type="primFontSz" for="des" forName="childText2" refType="primFontSz" refFor="des" refForName="child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995"/>
                  <dgm:constr type="l" for="ch" forName="parentText2" refType="w" fact="0"/>
                  <dgm:constr type="t" for="ch" forName="parentText2" refType="h" fact="0.0998"/>
                  <dgm:constr type="w" for="ch" forName="parentText2" refType="w" fact="0.538"/>
                  <dgm:constr type="h" for="ch" forName="parentText2" refType="h" fact="0.2995"/>
                  <dgm:constr type="l" for="ch" forName="childText1" refType="w" fact="0.538"/>
                  <dgm:constr type="t" for="ch" forName="childText1" refType="h" fact="0.2317"/>
                  <dgm:constr type="w" for="ch" forName="childText1" refType="w" fact="0.462"/>
                  <dgm:constr type="h" for="ch" forName="childText1" refType="h" fact="0.6685"/>
                  <dgm:constr type="l" for="ch" forName="childText2" refType="w" fact="0.076"/>
                  <dgm:constr type="t" for="ch" forName="childText2" refType="h" fact="0.3315"/>
                  <dgm:constr type="w" for="ch" forName="childText2" refType="w" fact="0.462"/>
                  <dgm:constr type="h" for="ch" forName="childText2" refType="h" fact="0.6685"/>
                </dgm:constrLst>
              </dgm:else>
            </dgm:choose>
          </dgm:else>
        </dgm:choose>
      </dgm:if>
      <dgm:if name="Name22" axis="ch" ptType="node" func="cnt" op="equ" val="3">
        <dgm:choose name="Name23">
          <dgm:if name="Name24" axis="ch ch" ptType="node node" func="cnt" op="equ" val="0">
            <dgm:alg type="composite">
              <dgm:param type="ar" val="4.1198"/>
            </dgm:alg>
            <dgm:choose name="Name25">
              <dgm:if name="Name2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.308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.616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if>
              <dgm:else name="Name2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6"/>
                  <dgm:constr type="l" for="ch" forName="parentText2" refType="w" fact="0"/>
                  <dgm:constr type="t" for="ch" forName="parentText2" refType="h" fact="0.2"/>
                  <dgm:constr type="w" for="ch" forName="parentText2" refType="w" fact="0.692"/>
                  <dgm:constr type="h" for="ch" forName="parentText2" refType="h" fact="0.6"/>
                  <dgm:constr type="l" for="ch" forName="parentText3" refType="w" fact="0"/>
                  <dgm:constr type="t" for="ch" forName="parentText3" refType="h" fact="0.4"/>
                  <dgm:constr type="w" for="ch" forName="parentText3" refType="w" fact="0.384"/>
                  <dgm:constr type="h" for="ch" forName="parentText3" refType="h" fact="0.6"/>
                </dgm:constrLst>
              </dgm:else>
            </dgm:choose>
          </dgm:if>
          <dgm:else name="Name28">
            <dgm:alg type="composite">
              <dgm:param type="ar" val="2.0702"/>
            </dgm:alg>
            <dgm:choose name="Name29">
              <dgm:if name="Name3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08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61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.308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.616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if>
              <dgm:else name="Name3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l" for="ch" forName="childText1" refType="w" fact="0.692"/>
                  <dgm:constr type="t" for="ch" forName="childText1" refType="h" fact="0.2325"/>
                  <dgm:constr type="w" for="ch" forName="childText1" refType="w" fact="0.308"/>
                  <dgm:constr type="h" for="ch" forName="childText1" refType="h" fact="0.5808"/>
                  <dgm:constr type="l" for="ch" forName="childText2" refType="w" fact="0.384"/>
                  <dgm:constr type="t" for="ch" forName="childText2" refType="h" fact="0.333"/>
                  <dgm:constr type="w" for="ch" forName="childText2" refType="w" fact="0.308"/>
                  <dgm:constr type="h" for="ch" forName="childText2" refType="h" fact="0.5808"/>
                  <dgm:constr type="l" for="ch" forName="childText3" refType="w" fact="0.076"/>
                  <dgm:constr type="t" for="ch" forName="childText3" refType="h" fact="0.4335"/>
                  <dgm:constr type="w" for="ch" forName="childText3" refType="w" fact="0.308"/>
                  <dgm:constr type="h" for="ch" forName="childText3" refType="h" fact="0.572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3015"/>
                  <dgm:constr type="l" for="ch" forName="parentText2" refType="w" fact="0"/>
                  <dgm:constr type="t" for="ch" forName="parentText2" refType="h" fact="0.1005"/>
                  <dgm:constr type="w" for="ch" forName="parentText2" refType="w" fact="0.692"/>
                  <dgm:constr type="h" for="ch" forName="parentText2" refType="h" fact="0.3015"/>
                  <dgm:constr type="l" for="ch" forName="parentText3" refType="w" fact="0"/>
                  <dgm:constr type="t" for="ch" forName="parentText3" refType="h" fact="0.201"/>
                  <dgm:constr type="w" for="ch" forName="parentText3" refType="w" fact="0.384"/>
                  <dgm:constr type="h" for="ch" forName="parentText3" refType="h" fact="0.3015"/>
                </dgm:constrLst>
              </dgm:else>
            </dgm:choose>
          </dgm:else>
        </dgm:choose>
      </dgm:if>
      <dgm:if name="Name32" axis="ch" ptType="node" func="cnt" op="equ" val="4">
        <dgm:choose name="Name33">
          <dgm:if name="Name34" axis="ch ch" ptType="node node" func="cnt" op="equ" val="0">
            <dgm:alg type="composite">
              <dgm:param type="ar" val="3.435"/>
            </dgm:alg>
            <dgm:choose name="Name35">
              <dgm:if name="Name3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.2305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.461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.6915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if>
              <dgm:else name="Name3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5001"/>
                  <dgm:constr type="l" for="ch" forName="parentText2" refType="w" fact="0"/>
                  <dgm:constr type="t" for="ch" forName="parentText2" refType="h" fact="0.1666"/>
                  <dgm:constr type="w" for="ch" forName="parentText2" refType="w" fact="0.7695"/>
                  <dgm:constr type="h" for="ch" forName="parentText2" refType="h" fact="0.5001"/>
                  <dgm:constr type="l" for="ch" forName="parentText3" refType="w" fact="0"/>
                  <dgm:constr type="t" for="ch" forName="parentText3" refType="h" fact="0.3333"/>
                  <dgm:constr type="w" for="ch" forName="parentText3" refType="w" fact="0.539"/>
                  <dgm:constr type="h" for="ch" forName="parentText3" refType="h" fact="0.5001"/>
                  <dgm:constr type="l" for="ch" forName="parentText4" refType="w" fact="0"/>
                  <dgm:constr type="t" for="ch" forName="parentText4" refType="h" fact="0.4999"/>
                  <dgm:constr type="w" for="ch" forName="parentText4" refType="w" fact="0.3085"/>
                  <dgm:constr type="h" for="ch" forName="parentText4" refType="h" fact="0.5001"/>
                </dgm:constrLst>
              </dgm:else>
            </dgm:choose>
          </dgm:if>
          <dgm:else name="Name38">
            <dgm:alg type="composite">
              <dgm:param type="ar" val="1.9377"/>
            </dgm:alg>
            <dgm:choose name="Name39">
              <dgm:if name="Name4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2305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461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6915"/>
                  <dgm:constr type="t" for="ch" forName="childText4" refType="h" fact="0.5"/>
                  <dgm:constr type="w" for="ch" forName="childText4" refType="w" fact="0.232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.2305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.461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.6915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if>
              <dgm:else name="Name4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l" for="ch" forName="childText1" refType="w" fact="0.7695"/>
                  <dgm:constr type="t" for="ch" forName="childText1" refType="h" fact="0.218"/>
                  <dgm:constr type="w" for="ch" forName="childText1" refType="w" fact="0.2305"/>
                  <dgm:constr type="h" for="ch" forName="childText1" refType="h" fact="0.5218"/>
                  <dgm:constr type="l" for="ch" forName="childText2" refType="w" fact="0.539"/>
                  <dgm:constr type="t" for="ch" forName="childText2" refType="h" fact="0.312"/>
                  <dgm:constr type="w" for="ch" forName="childText2" refType="w" fact="0.2305"/>
                  <dgm:constr type="h" for="ch" forName="childText2" refType="h" fact="0.5085"/>
                  <dgm:constr type="l" for="ch" forName="childText3" refType="w" fact="0.3085"/>
                  <dgm:constr type="t" for="ch" forName="childText3" refType="h" fact="0.406"/>
                  <dgm:constr type="w" for="ch" forName="childText3" refType="w" fact="0.2305"/>
                  <dgm:constr type="h" for="ch" forName="childText3" refType="h" fact="0.5119"/>
                  <dgm:constr type="l" for="ch" forName="childText4" refType="w" fact="0.076"/>
                  <dgm:constr type="t" for="ch" forName="childText4" refType="h" fact="0.5"/>
                  <dgm:constr type="w" for="ch" forName="childText4" refType="w" fact="0.2346"/>
                  <dgm:constr type="h" for="ch" forName="childText4" refType="h" fact="0.5179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821"/>
                  <dgm:constr type="l" for="ch" forName="parentText2" refType="w" fact="0"/>
                  <dgm:constr type="t" for="ch" forName="parentText2" refType="h" fact="0.094"/>
                  <dgm:constr type="w" for="ch" forName="parentText2" refType="w" fact="0.7695"/>
                  <dgm:constr type="h" for="ch" forName="parentText2" refType="h" fact="0.2821"/>
                  <dgm:constr type="l" for="ch" forName="parentText3" refType="w" fact="0"/>
                  <dgm:constr type="t" for="ch" forName="parentText3" refType="h" fact="0.188"/>
                  <dgm:constr type="w" for="ch" forName="parentText3" refType="w" fact="0.539"/>
                  <dgm:constr type="h" for="ch" forName="parentText3" refType="h" fact="0.2821"/>
                  <dgm:constr type="l" for="ch" forName="parentText4" refType="w" fact="0"/>
                  <dgm:constr type="t" for="ch" forName="parentText4" refType="h" fact="0.282"/>
                  <dgm:constr type="w" for="ch" forName="parentText4" refType="w" fact="0.3085"/>
                  <dgm:constr type="h" for="ch" forName="parentText4" refType="h" fact="0.2821"/>
                </dgm:constrLst>
              </dgm:else>
            </dgm:choose>
          </dgm:else>
        </dgm:choose>
      </dgm:if>
      <dgm:else name="Name42">
        <dgm:choose name="Name43">
          <dgm:if name="Name44" axis="ch ch" ptType="node node" func="cnt" op="equ" val="0">
            <dgm:alg type="composite">
              <dgm:param type="ar" val="2.9463"/>
            </dgm:alg>
            <dgm:choose name="Name45">
              <dgm:if name="Name46" func="var" arg="dir" op="equ" val="norm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.1848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.3696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.5545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.7393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if>
              <dgm:else name="Name47">
                <dgm:constrLst>
                  <dgm:constr type="primFontSz" for="des" forName="parentText1" val="65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4285"/>
                  <dgm:constr type="l" for="ch" forName="parentText2" refType="w" fact="0"/>
                  <dgm:constr type="t" for="ch" forName="parentText2" refType="h" fact="0.1429"/>
                  <dgm:constr type="w" for="ch" forName="parentText2" refType="w" fact="0.8152"/>
                  <dgm:constr type="h" for="ch" forName="parentText2" refType="h" fact="0.4285"/>
                  <dgm:constr type="l" for="ch" forName="parentText3" refType="w" fact="0"/>
                  <dgm:constr type="t" for="ch" forName="parentText3" refType="h" fact="0.2858"/>
                  <dgm:constr type="w" for="ch" forName="parentText3" refType="w" fact="0.6304"/>
                  <dgm:constr type="h" for="ch" forName="parentText3" refType="h" fact="0.4285"/>
                  <dgm:constr type="l" for="ch" forName="parentText4" refType="w" fact="0"/>
                  <dgm:constr type="t" for="ch" forName="parentText4" refType="h" fact="0.4286"/>
                  <dgm:constr type="w" for="ch" forName="parentText4" refType="w" fact="0.4455"/>
                  <dgm:constr type="h" for="ch" forName="parentText4" refType="h" fact="0.4285"/>
                  <dgm:constr type="l" for="ch" forName="parentText5" refType="w" fact="0"/>
                  <dgm:constr type="t" for="ch" forName="parentText5" refType="h" fact="0.5715"/>
                  <dgm:constr type="w" for="ch" forName="parentText5" refType="w" fact="0.2607"/>
                  <dgm:constr type="h" for="ch" forName="parentText5" refType="h" fact="0.4285"/>
                </dgm:constrLst>
              </dgm:else>
            </dgm:choose>
          </dgm:if>
          <dgm:else name="Name48">
            <dgm:alg type="composite">
              <dgm:param type="ar" val="1.7837"/>
            </dgm:alg>
            <dgm:choose name="Name49">
              <dgm:if name="Name50" func="var" arg="dir" op="equ" val="norm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1848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3696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5545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7393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.1848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.3696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.5545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.7393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if>
              <dgm:else name="Name51">
                <dgm:constrLst>
                  <dgm:constr type="primFontSz" for="des" forName="childText1" val="65"/>
                  <dgm:constr type="primFontSz" for="des" forName="parentText1" val="65"/>
                  <dgm:constr type="primFontSz" for="des" forName="childText1" refType="primFontSz" refFor="des" refForName="parentText1" op="lte"/>
                  <dgm:constr type="primFontSz" for="des" forName="childText2" refType="primFontSz" refFor="des" refForName="parentText1" op="lte"/>
                  <dgm:constr type="primFontSz" for="des" forName="childText3" refType="primFontSz" refFor="des" refForName="parentText1" op="lte"/>
                  <dgm:constr type="primFontSz" for="des" forName="childText4" refType="primFontSz" refFor="des" refForName="parentText1" op="lte"/>
                  <dgm:constr type="primFontSz" for="des" forName="childText5" refType="primFontSz" refFor="des" refForName="parentText1" op="lte"/>
                  <dgm:constr type="primFontSz" for="des" forName="childText1" refType="primFontSz" refFor="des" refForName="parentText2" op="lte"/>
                  <dgm:constr type="primFontSz" for="des" forName="childText2" refType="primFontSz" refFor="des" refForName="parentText2" op="lte"/>
                  <dgm:constr type="primFontSz" for="des" forName="childText3" refType="primFontSz" refFor="des" refForName="parentText2" op="lte"/>
                  <dgm:constr type="primFontSz" for="des" forName="childText4" refType="primFontSz" refFor="des" refForName="parentText2" op="lte"/>
                  <dgm:constr type="primFontSz" for="des" forName="childText5" refType="primFontSz" refFor="des" refForName="parentText2" op="lte"/>
                  <dgm:constr type="primFontSz" for="des" forName="childText1" refType="primFontSz" refFor="des" refForName="parentText3" op="lte"/>
                  <dgm:constr type="primFontSz" for="des" forName="childText2" refType="primFontSz" refFor="des" refForName="parentText3" op="lte"/>
                  <dgm:constr type="primFontSz" for="des" forName="childText3" refType="primFontSz" refFor="des" refForName="parentText3" op="lte"/>
                  <dgm:constr type="primFontSz" for="des" forName="childText4" refType="primFontSz" refFor="des" refForName="parentText3" op="lte"/>
                  <dgm:constr type="primFontSz" for="des" forName="childText5" refType="primFontSz" refFor="des" refForName="parentText3" op="lte"/>
                  <dgm:constr type="primFontSz" for="des" forName="childText1" refType="primFontSz" refFor="des" refForName="parentText4" op="lte"/>
                  <dgm:constr type="primFontSz" for="des" forName="childText2" refType="primFontSz" refFor="des" refForName="parentText4" op="lte"/>
                  <dgm:constr type="primFontSz" for="des" forName="childText3" refType="primFontSz" refFor="des" refForName="parentText4" op="lte"/>
                  <dgm:constr type="primFontSz" for="des" forName="childText4" refType="primFontSz" refFor="des" refForName="parentText4" op="lte"/>
                  <dgm:constr type="primFontSz" for="des" forName="childText5" refType="primFontSz" refFor="des" refForName="parentText4" op="lte"/>
                  <dgm:constr type="primFontSz" for="des" forName="childText1" refType="primFontSz" refFor="des" refForName="parentText5" op="lte"/>
                  <dgm:constr type="primFontSz" for="des" forName="childText2" refType="primFontSz" refFor="des" refForName="parentText5" op="lte"/>
                  <dgm:constr type="primFontSz" for="des" forName="childText3" refType="primFontSz" refFor="des" refForName="parentText5" op="lte"/>
                  <dgm:constr type="primFontSz" for="des" forName="childText4" refType="primFontSz" refFor="des" refForName="parentText5" op="lte"/>
                  <dgm:constr type="primFontSz" for="des" forName="childText5" refType="primFontSz" refFor="des" refForName="parentText5" op="lte"/>
                  <dgm:constr type="primFontSz" for="des" forName="parentText2" refType="primFontSz" refFor="des" refForName="parentText1" op="equ"/>
                  <dgm:constr type="primFontSz" for="des" forName="parentText3" refType="primFontSz" refFor="des" refForName="parentText1" op="equ"/>
                  <dgm:constr type="primFontSz" for="des" forName="parentText4" refType="primFontSz" refFor="des" refForName="parentText1" op="equ"/>
                  <dgm:constr type="primFontSz" for="des" forName="parentText5" refType="primFontSz" refFor="des" refForName="parentText1" op="equ"/>
                  <dgm:constr type="primFontSz" for="des" forName="childText2" refType="primFontSz" refFor="des" refForName="childText1" op="equ"/>
                  <dgm:constr type="primFontSz" for="des" forName="childText3" refType="primFontSz" refFor="des" refForName="childText1" op="equ"/>
                  <dgm:constr type="primFontSz" for="des" forName="childText4" refType="primFontSz" refFor="des" refForName="childText1" op="equ"/>
                  <dgm:constr type="primFontSz" for="des" forName="childText5" refType="primFontSz" refFor="des" refForName="childText1" op="equ"/>
                  <dgm:constr type="l" for="ch" forName="childText1" refType="w" fact="0.81518"/>
                  <dgm:constr type="t" for="ch" forName="childText1" refType="h" fact="0.1997"/>
                  <dgm:constr type="w" for="ch" forName="childText1" refType="w" fact="0.18482"/>
                  <dgm:constr type="h" for="ch" forName="childText1" refType="h" fact="0.4763"/>
                  <dgm:constr type="l" for="ch" forName="childText2" refType="w" fact="0.63036"/>
                  <dgm:constr type="t" for="ch" forName="childText2" refType="h" fact="0.2862"/>
                  <dgm:constr type="w" for="ch" forName="childText2" refType="w" fact="0.18482"/>
                  <dgm:constr type="h" for="ch" forName="childText2" refType="h" fact="0.4763"/>
                  <dgm:constr type="l" for="ch" forName="childText3" refType="w" fact="0.44554"/>
                  <dgm:constr type="t" for="ch" forName="childText3" refType="h" fact="0.3727"/>
                  <dgm:constr type="w" for="ch" forName="childText3" refType="w" fact="0.18482"/>
                  <dgm:constr type="h" for="ch" forName="childText3" refType="h" fact="0.4763"/>
                  <dgm:constr type="l" for="ch" forName="childText4" refType="w" fact="0.26072"/>
                  <dgm:constr type="t" for="ch" forName="childText4" refType="h" fact="0.4592"/>
                  <dgm:constr type="w" for="ch" forName="childText4" refType="w" fact="0.18482"/>
                  <dgm:constr type="h" for="ch" forName="childText4" refType="h" fact="0.4763"/>
                  <dgm:constr type="l" for="ch" forName="childText5" refType="w" fact="0.0759"/>
                  <dgm:constr type="t" for="ch" forName="childText5" refType="h" fact="0.5457"/>
                  <dgm:constr type="w" for="ch" forName="childText5" refType="w" fact="0.18482"/>
                  <dgm:constr type="h" for="ch" forName="childText5" refType="h" fact="0.4763"/>
                  <dgm:constr type="l" for="ch" forName="parentText1" refType="w" fact="0"/>
                  <dgm:constr type="t" for="ch" forName="parentText1" refType="h" fact="0"/>
                  <dgm:constr type="w" for="ch" forName="parentText1" refType="w"/>
                  <dgm:constr type="h" for="ch" forName="parentText1" refType="h" fact="0.2594"/>
                  <dgm:constr type="l" for="ch" forName="parentText2" refType="w" fact="0"/>
                  <dgm:constr type="t" for="ch" forName="parentText2" refType="h" fact="0.0865"/>
                  <dgm:constr type="w" for="ch" forName="parentText2" refType="w" fact="0.8152"/>
                  <dgm:constr type="h" for="ch" forName="parentText2" refType="h" fact="0.2594"/>
                  <dgm:constr type="l" for="ch" forName="parentText3" refType="w" fact="0"/>
                  <dgm:constr type="t" for="ch" forName="parentText3" refType="h" fact="0.173"/>
                  <dgm:constr type="w" for="ch" forName="parentText3" refType="w" fact="0.6304"/>
                  <dgm:constr type="h" for="ch" forName="parentText3" refType="h" fact="0.2594"/>
                  <dgm:constr type="l" for="ch" forName="parentText4" refType="w" fact="0"/>
                  <dgm:constr type="t" for="ch" forName="parentText4" refType="h" fact="0.2595"/>
                  <dgm:constr type="w" for="ch" forName="parentText4" refType="w" fact="0.4455"/>
                  <dgm:constr type="h" for="ch" forName="parentText4" refType="h" fact="0.2594"/>
                  <dgm:constr type="l" for="ch" forName="parentText5" refType="w" fact="0"/>
                  <dgm:constr type="t" for="ch" forName="parentText5" refType="h" fact="0.346"/>
                  <dgm:constr type="w" for="ch" forName="parentText5" refType="w" fact="0.2607"/>
                  <dgm:constr type="h" for="ch" forName="parentText5" refType="h" fact="0.2594"/>
                </dgm:constrLst>
              </dgm:else>
            </dgm:choose>
          </dgm:else>
        </dgm:choose>
      </dgm:else>
    </dgm:choose>
    <dgm:forEach name="Name52" axis="ch" ptType="node" cnt="1">
      <dgm:layoutNode name="parentText1" styleLbl="node1">
        <dgm:varLst>
          <dgm:chMax/>
          <dgm:chPref val="3"/>
          <dgm:bulletEnabled val="1"/>
        </dgm:varLst>
        <dgm:choose name="Name53">
          <dgm:if name="Name54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55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56">
        <dgm:if name="Name57" axis="ch" ptType="node" func="cnt" op="gte" val="1">
          <dgm:layoutNode name="childText1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58"/>
      </dgm:choose>
    </dgm:forEach>
    <dgm:forEach name="Name59" axis="ch" ptType="node" st="2" cnt="1">
      <dgm:layoutNode name="parentText2" styleLbl="node1">
        <dgm:varLst>
          <dgm:chMax/>
          <dgm:chPref val="3"/>
          <dgm:bulletEnabled val="1"/>
        </dgm:varLst>
        <dgm:choose name="Name60">
          <dgm:if name="Name61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2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63">
        <dgm:if name="Name64" axis="ch" ptType="node" func="cnt" op="gte" val="1">
          <dgm:layoutNode name="childText2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65"/>
      </dgm:choose>
    </dgm:forEach>
    <dgm:forEach name="Name66" axis="ch" ptType="node" st="3" cnt="1">
      <dgm:layoutNode name="parentText3" styleLbl="node1">
        <dgm:varLst>
          <dgm:chMax/>
          <dgm:chPref val="3"/>
          <dgm:bulletEnabled val="1"/>
        </dgm:varLst>
        <dgm:choose name="Name67">
          <dgm:if name="Name68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69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0">
        <dgm:if name="Name71" axis="ch" ptType="node" func="cnt" op="gte" val="1">
          <dgm:layoutNode name="childText3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2"/>
      </dgm:choose>
    </dgm:forEach>
    <dgm:forEach name="Name73" axis="ch" ptType="node" st="4" cnt="1">
      <dgm:layoutNode name="parentText4" styleLbl="node1">
        <dgm:varLst>
          <dgm:chMax/>
          <dgm:chPref val="3"/>
          <dgm:bulletEnabled val="1"/>
        </dgm:varLst>
        <dgm:choose name="Name74">
          <dgm:if name="Name75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76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77">
        <dgm:if name="Name78" axis="ch" ptType="node" func="cnt" op="gte" val="1">
          <dgm:layoutNode name="childText4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79"/>
      </dgm:choose>
    </dgm:forEach>
    <dgm:forEach name="Name80" axis="ch" ptType="node" st="5" cnt="1">
      <dgm:layoutNode name="parentText5" styleLbl="node1">
        <dgm:varLst>
          <dgm:chMax/>
          <dgm:chPref val="3"/>
          <dgm:bulletEnabled val="1"/>
        </dgm:varLst>
        <dgm:choose name="Name81">
          <dgm:if name="Name82" func="var" arg="dir" op="equ" val="norm">
            <dgm:alg type="tx">
              <dgm:param type="parTxLTRAlign" val="l"/>
            </dgm:alg>
            <dgm:shape xmlns:r="http://schemas.openxmlformats.org/officeDocument/2006/relationships" type="rightArrow" r:blip="">
              <dgm:adjLst>
                <dgm:adj idx="1" val="0.5"/>
                <dgm:adj idx="2" val="0.5"/>
              </dgm:adjLst>
            </dgm:shape>
            <dgm:constrLst>
              <dgm:constr type="lMarg" refType="primFontSz" fact="0.3"/>
              <dgm:constr type="rMarg" val="20"/>
              <dgm:constr type="tMarg" refType="primFontSz" fact="0.3"/>
              <dgm:constr type="bMarg" refType="h" fact="0.45"/>
            </dgm:constrLst>
          </dgm:if>
          <dgm:else name="Name83">
            <dgm:alg type="tx">
              <dgm:param type="parTxLTRAlign" val="r"/>
            </dgm:alg>
            <dgm:shape xmlns:r="http://schemas.openxmlformats.org/officeDocument/2006/relationships" type="leftArrow" r:blip="">
              <dgm:adjLst>
                <dgm:adj idx="1" val="0.5"/>
                <dgm:adj idx="2" val="0.5"/>
              </dgm:adjLst>
            </dgm:shape>
            <dgm:constrLst>
              <dgm:constr type="lMarg" val="20"/>
              <dgm:constr type="rMarg" refType="primFontSz" fact="0.3"/>
              <dgm:constr type="tMarg" refType="primFontSz" fact="0.3"/>
              <dgm:constr type="bMarg" refType="h" fact="0.45"/>
            </dgm:constrLst>
          </dgm:else>
        </dgm:choose>
        <dgm:presOf axis="self" ptType="node"/>
        <dgm:ruleLst>
          <dgm:rule type="primFontSz" val="5" fact="NaN" max="NaN"/>
        </dgm:ruleLst>
      </dgm:layoutNode>
      <dgm:choose name="Name84">
        <dgm:if name="Name85" axis="ch" ptType="node" func="cnt" op="gte" val="1">
          <dgm:layoutNode name="childText5" styleLbl="solidAlignAcc1">
            <dgm:varLst>
              <dgm:chMax val="0"/>
              <dgm:chPref val="0"/>
              <dgm:bulletEnabled val="1"/>
            </dgm:varLst>
            <dgm:alg type="tx">
              <dgm:param type="txAnchorVert" val="t"/>
              <dgm:param type="parTxLTRAlign" val="l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lMarg" refType="primFontSz" fact="0.3"/>
              <dgm:constr type="rMarg" refType="primFontSz" fact="0.3"/>
              <dgm:constr type="tMarg" refType="primFontSz" fact="0.3"/>
              <dgm:constr type="bMarg" refType="primFontSz" fact="0.3"/>
            </dgm:constrLst>
            <dgm:ruleLst>
              <dgm:rule type="primFontSz" val="5" fact="NaN" max="NaN"/>
            </dgm:ruleLst>
          </dgm:layoutNode>
        </dgm:if>
        <dgm:else name="Name86"/>
      </dgm:choos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ierarchy2">
  <dgm:title val=""/>
  <dgm:desc val=""/>
  <dgm:catLst>
    <dgm:cat type="hierarchy" pri="5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" destId="22" srcOrd="1" destOrd="0"/>
        <dgm:cxn modelId="33" srcId="3" destId="31" srcOrd="0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</dgm:ptLst>
      <dgm:cxnLst>
        <dgm:cxn modelId="2" srcId="0" destId="1" srcOrd="0" destOrd="0"/>
        <dgm:cxn modelId="13" srcId="1" destId="11" srcOrd="0" destOrd="0"/>
        <dgm:cxn modelId="14" srcId="1" destId="1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21"/>
        <dgm:pt modelId="211"/>
        <dgm:pt modelId="3"/>
        <dgm:pt modelId="31"/>
        <dgm:pt modelId="311"/>
      </dgm:ptLst>
      <dgm:cxnLst>
        <dgm:cxn modelId="4" srcId="0" destId="1" srcOrd="0" destOrd="0"/>
        <dgm:cxn modelId="5" srcId="1" destId="2" srcOrd="0" destOrd="0"/>
        <dgm:cxn modelId="6" srcId="1" destId="3" srcOrd="1" destOrd="0"/>
        <dgm:cxn modelId="23" srcId="2" destId="21" srcOrd="0" destOrd="0"/>
        <dgm:cxn modelId="24" srcId="21" destId="211" srcOrd="0" destOrd="0"/>
        <dgm:cxn modelId="33" srcId="3" destId="31" srcOrd="0" destOrd="0"/>
        <dgm:cxn modelId="34" srcId="31" destId="311" srcOrd="0" destOrd="0"/>
      </dgm:cxnLst>
      <dgm:bg/>
      <dgm:whole/>
    </dgm:dataModel>
  </dgm:clrData>
  <dgm:layoutNode name="diagram">
    <dgm:varLst>
      <dgm:chPref val="1"/>
      <dgm:dir/>
      <dgm:animOne val="branch"/>
      <dgm:animLvl val="lvl"/>
      <dgm:resizeHandles val="exact"/>
    </dgm:varLst>
    <dgm:choose name="Name0">
      <dgm:if name="Name1" func="var" arg="dir" op="equ" val="norm">
        <dgm:alg type="hierChild">
          <dgm:param type="linDir" val="fromT"/>
          <dgm:param type="chAlign" val="l"/>
        </dgm:alg>
      </dgm:if>
      <dgm:else name="Name2">
        <dgm:alg type="hierChild">
          <dgm:param type="linDir" val="fromT"/>
          <dgm:param type="ch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des" ptType="node" refType="h"/>
      <dgm:constr type="w" for="des" ptType="node" refType="h" refFor="des" refPtType="node" fact="2"/>
      <dgm:constr type="sibSp" refType="h" refFor="des" refPtType="node" op="equ" fact="0.15"/>
      <dgm:constr type="sibSp" for="des" forName="level2hierChild" refType="h" refFor="des" refPtType="node" op="equ" fact="0.15"/>
      <dgm:constr type="sibSp" for="des" forName="level3hierChild" refType="h" refFor="des" refPtType="node" op="equ" fact="0.15"/>
      <dgm:constr type="sp" for="des" forName="root1" refType="w" refFor="des" refPtType="node" fact="0.4"/>
      <dgm:constr type="sp" for="des" forName="root2" refType="sp" refFor="des" refForName="root1" op="equ"/>
      <dgm:constr type="primFontSz" for="des" ptType="node" op="equ" val="65"/>
      <dgm:constr type="primFontSz" for="des" forName="connTx" op="equ" val="55"/>
      <dgm:constr type="primFontSz" for="des" forName="connTx" refType="primFontSz" refFor="des" refPtType="node" op="lte" fact="0.8"/>
    </dgm:constrLst>
    <dgm:ruleLst/>
    <dgm:forEach name="Name3" axis="ch">
      <dgm:forEach name="Name4" axis="self" ptType="node">
        <dgm:layoutNode name="root1">
          <dgm:choose name="Name5">
            <dgm:if name="Name6" func="var" arg="dir" op="equ" val="norm">
              <dgm:alg type="hierRoot">
                <dgm:param type="hierAlign" val="lCtrCh"/>
              </dgm:alg>
            </dgm:if>
            <dgm:else name="Name7">
              <dgm:alg type="hierRoot">
                <dgm:param type="hierAlign" val="rCtrCh"/>
              </dgm:alg>
            </dgm:else>
          </dgm:choose>
          <dgm:shape xmlns:r="http://schemas.openxmlformats.org/officeDocument/2006/relationships" r:blip="">
            <dgm:adjLst/>
          </dgm:shape>
          <dgm:presOf/>
          <dgm:constrLst/>
          <dgm:ruleLst/>
          <dgm:layoutNode name="LevelOneTextNode" styleLbl="node0">
            <dgm:varLst>
              <dgm:chPref val="3"/>
            </dgm:varLst>
            <dgm:alg type="tx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self"/>
            <dgm:constrLst>
              <dgm:constr type="tMarg" refType="primFontSz" fact="0.05"/>
              <dgm:constr type="bMarg" refType="primFontSz" fact="0.05"/>
              <dgm:constr type="lMarg" refType="primFontSz" fact="0.05"/>
              <dgm:constr type="rMarg" refType="primFontSz" fact="0.05"/>
            </dgm:constrLst>
            <dgm:ruleLst>
              <dgm:rule type="primFontSz" val="5" fact="NaN" max="NaN"/>
            </dgm:ruleLst>
          </dgm:layoutNode>
          <dgm:layoutNode name="level2hierChild">
            <dgm:choose name="Name8">
              <dgm:if name="Name9" func="var" arg="dir" op="equ" val="norm">
                <dgm:alg type="hierChild">
                  <dgm:param type="linDir" val="fromT"/>
                  <dgm:param type="chAlign" val="l"/>
                </dgm:alg>
              </dgm:if>
              <dgm:else name="Name10">
                <dgm:alg type="hierChild">
                  <dgm:param type="linDir" val="fromT"/>
                  <dgm:param type="chAlign" val="r"/>
                </dgm:alg>
              </dgm:else>
            </dgm:choose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repeat" axis="ch">
              <dgm:forEach name="Name11" axis="self" ptType="parTrans" cnt="1">
                <dgm:layoutNode name="conn2-1">
                  <dgm:choose name="Name12">
                    <dgm:if name="Name13" func="var" arg="dir" op="equ" val="norm">
                      <dgm:alg type="conn">
                        <dgm:param type="dim" val="1D"/>
                        <dgm:param type="begPts" val="midR"/>
                        <dgm:param type="endPts" val="midL"/>
                        <dgm:param type="endSty" val="noArr"/>
                      </dgm:alg>
                    </dgm:if>
                    <dgm:else name="Name14">
                      <dgm:alg type="conn">
                        <dgm:param type="dim" val="1D"/>
                        <dgm:param type="begPts" val="midL"/>
                        <dgm:param type="endPts" val="midR"/>
                        <dgm:param type="endSty" val="noArr"/>
                      </dgm:alg>
                    </dgm:else>
                  </dgm:choose>
                  <dgm:shape xmlns:r="http://schemas.openxmlformats.org/officeDocument/2006/relationships" type="conn" r:blip="">
                    <dgm:adjLst/>
                  </dgm:shape>
                  <dgm:presOf axis="self"/>
                  <dgm:constrLst>
                    <dgm:constr type="w" val="1"/>
                    <dgm:constr type="h" val="5"/>
                    <dgm:constr type="connDist"/>
                    <dgm:constr type="begPad"/>
                    <dgm:constr type="endPad"/>
                    <dgm:constr type="userA" for="ch" refType="connDist"/>
                  </dgm:constrLst>
                  <dgm:ruleLst/>
                  <dgm:layoutNode name="connTx">
                    <dgm:alg type="tx">
                      <dgm:param type="autoTxRot" val="grav"/>
                    </dgm:alg>
                    <dgm:shape xmlns:r="http://schemas.openxmlformats.org/officeDocument/2006/relationships" type="rect" r:blip="" hideGeom="1">
                      <dgm:adjLst/>
                    </dgm:shape>
                    <dgm:presOf axis="self"/>
                    <dgm:constrLst>
                      <dgm:constr type="userA"/>
                      <dgm:constr type="w" refType="userA" fact="0.05"/>
                      <dgm:constr type="h" refType="userA" fact="0.05"/>
                      <dgm:constr type="lMarg" val="1"/>
                      <dgm:constr type="rMarg" val="1"/>
                      <dgm:constr type="tMarg"/>
                      <dgm:constr type="bMarg"/>
                    </dgm:constrLst>
                    <dgm:ruleLst>
                      <dgm:rule type="h" val="NaN" fact="0.25" max="NaN"/>
                      <dgm:rule type="w" val="NaN" fact="0.8" max="NaN"/>
                      <dgm:rule type="primFontSz" val="5" fact="NaN" max="NaN"/>
                    </dgm:ruleLst>
                  </dgm:layoutNode>
                </dgm:layoutNode>
              </dgm:forEach>
              <dgm:forEach name="Name15" axis="self" ptType="node">
                <dgm:layoutNode name="root2">
                  <dgm:choose name="Name16">
                    <dgm:if name="Name17" func="var" arg="dir" op="equ" val="norm">
                      <dgm:alg type="hierRoot">
                        <dgm:param type="hierAlign" val="lCtrCh"/>
                      </dgm:alg>
                    </dgm:if>
                    <dgm:else name="Name18">
                      <dgm:alg type="hierRoot">
                        <dgm:param type="hierAlign" val="rCtrCh"/>
                      </dgm:alg>
                    </dgm:else>
                  </dgm:choose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  <dgm:layoutNode name="LevelTwoTextNode">
                    <dgm:varLst>
                      <dgm:chPref val="3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"/>
                      </dgm:adjLst>
                    </dgm:shape>
                    <dgm:presOf axis="self"/>
                    <dgm:constrLst>
                      <dgm:constr type="tMarg" refType="primFontSz" fact="0.05"/>
                      <dgm:constr type="bMarg" refType="primFontSz" fact="0.05"/>
                      <dgm:constr type="lMarg" refType="primFontSz" fact="0.05"/>
                      <dgm:constr type="rMarg" refType="primFontSz" fact="0.05"/>
                    </dgm:constrLst>
                    <dgm:ruleLst>
                      <dgm:rule type="primFontSz" val="5" fact="NaN" max="NaN"/>
                    </dgm:ruleLst>
                  </dgm:layoutNode>
                  <dgm:layoutNode name="level3hierChild">
                    <dgm:choose name="Name19">
                      <dgm:if name="Name20" func="var" arg="dir" op="equ" val="norm">
                        <dgm:alg type="hierChild">
                          <dgm:param type="linDir" val="fromT"/>
                          <dgm:param type="chAlign" val="l"/>
                        </dgm:alg>
                      </dgm:if>
                      <dgm:else name="Name21">
                        <dgm:alg type="hierChild">
                          <dgm:param type="linDir" val="fromT"/>
                          <dgm:param type="chAlign" val="r"/>
                        </dgm:alg>
                      </dgm:else>
                    </dgm:choose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  <dgm:forEach name="Name22" ref="repeat"/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5/8/layout/chevron1">
  <dgm:title val=""/>
  <dgm:desc val=""/>
  <dgm:catLst>
    <dgm:cat type="process" pri="9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des" func="maxDepth" op="gte" val="2">
        <dgm:constrLst>
          <dgm:constr type="h" for="ch" forName="composite" refType="h"/>
          <dgm:constr type="w" for="ch" forName="composite" refType="w"/>
          <dgm:constr type="w" for="des" forName="parTx"/>
          <dgm:constr type="h" for="des" forName="parTx" op="equ"/>
          <dgm:constr type="w" for="des" forName="desTx"/>
          <dgm:constr type="h" for="des" forName="desTx" op="equ"/>
          <dgm:constr type="primFontSz" for="des" forName="parTx" val="65"/>
          <dgm:constr type="secFontSz" for="des" forName="desTx" refType="primFontSz" refFor="des" refForName="parTx" op="equ"/>
          <dgm:constr type="h" for="des" forName="parTx" refType="primFontSz" refFor="des" refForName="parTx" fact="1.5"/>
          <dgm:constr type="h" for="des" forName="desTx" refType="primFontSz" refFor="des" refForName="parTx" fact="0.5"/>
          <dgm:constr type="w" for="ch" forName="space" op="equ" val="-6"/>
        </dgm:constrLst>
        <dgm:ruleLst>
          <dgm:rule type="w" for="ch" forName="composite" val="0" fact="NaN" max="NaN"/>
          <dgm:rule type="primFontSz" for="des" forName="parTx" val="5" fact="NaN" max="NaN"/>
        </dgm:ruleLst>
        <dgm:forEach name="Name6" axis="ch" ptType="node">
          <dgm:layoutNode name="composite">
            <dgm:alg type="composite"/>
            <dgm:shape xmlns:r="http://schemas.openxmlformats.org/officeDocument/2006/relationships" r:blip="">
              <dgm:adjLst/>
            </dgm:shape>
            <dgm:presOf/>
            <dgm:choose name="Name7">
              <dgm:if name="Name8" func="var" arg="dir" op="equ" val="norm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if>
              <dgm:else name="Name9">
                <dgm:constrLst>
                  <dgm:constr type="l" for="ch" forName="parTx"/>
                  <dgm:constr type="w" for="ch" forName="parTx" refType="w"/>
                  <dgm:constr type="t" for="ch" forName="parTx"/>
                  <dgm:constr type="l" for="ch" forName="desTx" refType="w" fact="0.2"/>
                  <dgm:constr type="w" for="ch" forName="desTx" refType="w" refFor="ch" refForName="parTx" fact="0.8"/>
                  <dgm:constr type="t" for="ch" forName="desTx" refType="h" refFor="ch" refForName="parTx" fact="1.125"/>
                </dgm:constrLst>
              </dgm:else>
            </dgm:choose>
            <dgm:ruleLst>
              <dgm:rule type="h" val="INF" fact="NaN" max="NaN"/>
            </dgm:ruleLst>
            <dgm:layoutNode name="parTx">
              <dgm:varLst>
                <dgm:chMax val="0"/>
                <dgm:chPref val="0"/>
                <dgm:bulletEnabled val="1"/>
              </dgm:varLst>
              <dgm:alg type="tx"/>
              <dgm:choose name="Name10">
                <dgm:if name="Name11" func="var" arg="dir" op="equ" val="norm">
                  <dgm:shape xmlns:r="http://schemas.openxmlformats.org/officeDocument/2006/relationships" type="chevron" r:blip="">
                    <dgm:adjLst/>
                  </dgm:shape>
                </dgm:if>
                <dgm:else name="Name12">
                  <dgm:shape xmlns:r="http://schemas.openxmlformats.org/officeDocument/2006/relationships" rot="180" type="chevron" r:blip="">
                    <dgm:adjLst/>
                  </dgm:shape>
                </dgm:else>
              </dgm:choose>
              <dgm:presOf axis="self" ptType="node"/>
              <dgm:choose name="Name13">
                <dgm:if name="Name14" func="var" arg="dir" op="equ" val="norm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315"/>
                    <dgm:constr type="rMarg" refType="primFontSz" fact="0.105"/>
                  </dgm:constrLst>
                </dgm:if>
                <dgm:else name="Name15">
                  <dgm:constrLst>
                    <dgm:constr type="h" refType="w" op="lte" fact="0.4"/>
                    <dgm:constr type="h"/>
                    <dgm:constr type="tMarg" refType="primFontSz" fact="0.105"/>
                    <dgm:constr type="bMarg" refType="primFontSz" fact="0.105"/>
                    <dgm:constr type="lMarg" refType="primFontSz" fact="0.105"/>
                    <dgm:constr type="rMarg" refType="primFontSz" fact="0.315"/>
                  </dgm:constrLst>
                </dgm:else>
              </dgm:choose>
              <dgm:ruleLst>
                <dgm:rule type="h" val="INF" fact="NaN" max="NaN"/>
              </dgm:ruleLst>
            </dgm:layoutNode>
            <dgm:layoutNode name="desTx" styleLbl="revTx">
              <dgm:varLst>
                <dgm:bulletEnabled val="1"/>
              </dgm:varLst>
              <dgm:alg type="tx">
                <dgm:param type="stBulletLvl" val="1"/>
              </dgm:alg>
              <dgm:choose name="Name16">
                <dgm:if name="Name17" axis="ch" ptType="node" func="cnt" op="gte" val="1">
                  <dgm:shape xmlns:r="http://schemas.openxmlformats.org/officeDocument/2006/relationships" type="rect" r:blip="">
                    <dgm:adjLst/>
                  </dgm:shape>
                </dgm:if>
                <dgm:else name="Name18">
                  <dgm:shape xmlns:r="http://schemas.openxmlformats.org/officeDocument/2006/relationships" type="rect" r:blip="" hideGeom="1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h"/>
                <dgm:constr type="tMarg"/>
                <dgm:constr type="bMarg"/>
                <dgm:constr type="rMarg"/>
                <dgm:constr type="lMarg"/>
              </dgm:constrLst>
              <dgm:ruleLst>
                <dgm:rule type="h" val="INF" fact="NaN" max="NaN"/>
              </dgm:ruleLst>
            </dgm:layoutNode>
          </dgm:layoutNode>
          <dgm:forEach name="Name19" axis="followSib" ptType="sibTrans" cnt="1">
            <dgm:layoutNode name="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20">
        <dgm:constrLst>
          <dgm:constr type="w" for="ch" forName="parTxOnly" refType="w"/>
          <dgm:constr type="h" for="des" forName="parTxOnly" op="equ"/>
          <dgm:constr type="primFontSz" for="des" forName="parTxOnly" op="equ" val="65"/>
          <dgm:constr type="w" for="ch" forName="parTxOnlySpace" refType="w" refFor="ch" refForName="parTxOnly" fact="-0.1"/>
        </dgm:constrLst>
        <dgm:ruleLst/>
        <dgm:forEach name="Name21" axis="ch" ptType="node">
          <dgm:layoutNode name="parTxOnly">
            <dgm:varLst>
              <dgm:chMax val="0"/>
              <dgm:chPref val="0"/>
              <dgm:bulletEnabled val="1"/>
            </dgm:varLst>
            <dgm:alg type="tx"/>
            <dgm:choose name="Name22">
              <dgm:if name="Name23" func="var" arg="dir" op="equ" val="norm">
                <dgm:shape xmlns:r="http://schemas.openxmlformats.org/officeDocument/2006/relationships" type="chevron" r:blip="">
                  <dgm:adjLst/>
                </dgm:shape>
              </dgm:if>
              <dgm:else name="Name24">
                <dgm:shape xmlns:r="http://schemas.openxmlformats.org/officeDocument/2006/relationships" rot="180" type="chevron" r:blip="">
                  <dgm:adjLst/>
                </dgm:shape>
              </dgm:else>
            </dgm:choose>
            <dgm:presOf axis="self" ptType="node"/>
            <dgm:choose name="Name25">
              <dgm:if name="Name26" func="var" arg="dir" op="equ" val="norm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315"/>
                  <dgm:constr type="rMarg" refType="primFontSz" fact="0.105"/>
                </dgm:constrLst>
              </dgm:if>
              <dgm:else name="Name27">
                <dgm:constrLst>
                  <dgm:constr type="h" refType="w" op="equ" fact="0.4"/>
                  <dgm:constr type="tMarg" refType="primFontSz" fact="0.105"/>
                  <dgm:constr type="bMarg" refType="primFontSz" fact="0.105"/>
                  <dgm:constr type="lMarg" refType="primFontSz" fact="0.105"/>
                  <dgm:constr type="rMarg" refType="primFontSz" fact="0.315"/>
                </dgm:constrLst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TxOnly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2">
  <dgm:title val=""/>
  <dgm:desc val=""/>
  <dgm:catLst>
    <dgm:cat type="simple" pri="102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3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418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BC8B865-7AAF-4C26-8304-915F71EFA814}" type="datetimeFigureOut">
              <a:rPr lang="en-ZA" smtClean="0"/>
              <a:t>2019/08/16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6899"/>
            <a:ext cx="2946400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49688" y="9376899"/>
            <a:ext cx="2946400" cy="49418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541816E-BE48-416A-A5C7-2784E3254F92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3787021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4E9D650-015F-4F91-AC32-AEEE6A40B8D9}" type="datetimeFigureOut">
              <a:rPr lang="en-ZA" smtClean="0"/>
              <a:t>2019/08/16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930275" y="739775"/>
            <a:ext cx="493712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4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738A482-2061-49D3-A35A-7891C3524BDA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63789724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76480108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23159871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90332526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88786328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ZA" dirty="0"/>
              <a:t>A new dynamic outlook to reposition the Department</a:t>
            </a:r>
          </a:p>
        </p:txBody>
      </p:sp>
    </p:spTree>
    <p:extLst>
      <p:ext uri="{BB962C8B-B14F-4D97-AF65-F5344CB8AC3E}">
        <p14:creationId xmlns:p14="http://schemas.microsoft.com/office/powerpoint/2010/main" val="9322519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93C4C8F1-5C13-4C81-9E02-FFA3FB49745C}" type="datetime1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9937091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6FE9780-74FD-47C4-A100-16A2C14E37C2}" type="datetime1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618287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29B9EAB0-93A5-48EB-B615-3853EF061145}" type="datetime1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1973671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73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5" r:id="rId4" imgW="0" imgH="0" progId="">
                  <p:embed/>
                </p:oleObj>
              </mc:Choice>
              <mc:Fallback>
                <p:oleObj r:id="rId4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66" name="Rectangle 22"/>
          <p:cNvSpPr>
            <a:spLocks noGrp="1" noChangeArrowheads="1"/>
          </p:cNvSpPr>
          <p:nvPr>
            <p:ph type="ctrTitle" sz="quarter"/>
          </p:nvPr>
        </p:nvSpPr>
        <p:spPr>
          <a:xfrm>
            <a:off x="1141415" y="3124202"/>
            <a:ext cx="6861175" cy="401648"/>
          </a:xfrm>
          <a:ln algn="ctr"/>
        </p:spPr>
        <p:txBody>
          <a:bodyPr anchor="ctr"/>
          <a:lstStyle>
            <a:lvl1pPr algn="ctr">
              <a:defRPr sz="2900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6167" name="Rectangle 23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371600" y="4351341"/>
            <a:ext cx="6400800" cy="221599"/>
          </a:xfrm>
        </p:spPr>
        <p:txBody>
          <a:bodyPr anchor="ctr"/>
          <a:lstStyle>
            <a:lvl1pPr marL="0" indent="0" algn="ctr">
              <a:buFont typeface="Wingdings" pitchFamily="2" charset="2"/>
              <a:buNone/>
              <a:defRPr i="1"/>
            </a:lvl1pPr>
          </a:lstStyle>
          <a:p>
            <a:r>
              <a:rPr lang="en-US" noProof="0"/>
              <a:t>Click to edit Master subtitle style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8760264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46063" y="2092329"/>
            <a:ext cx="8647112" cy="1329595"/>
          </a:xfrm>
        </p:spPr>
        <p:txBody>
          <a:bodyPr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41972441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2"/>
            <a:ext cx="7772400" cy="1080296"/>
          </a:xfrm>
        </p:spPr>
        <p:txBody>
          <a:bodyPr/>
          <a:lstStyle>
            <a:lvl1pPr algn="ctr">
              <a:defRPr sz="3900" b="1" cap="all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7"/>
            <a:ext cx="7772400" cy="276999"/>
          </a:xfrm>
        </p:spPr>
        <p:txBody>
          <a:bodyPr anchor="b"/>
          <a:lstStyle>
            <a:lvl1pPr marL="0" indent="0" algn="ctr">
              <a:buNone/>
              <a:defRPr sz="2000"/>
            </a:lvl1pPr>
            <a:lvl2pPr marL="457165" indent="0">
              <a:buNone/>
              <a:defRPr sz="1800"/>
            </a:lvl2pPr>
            <a:lvl3pPr marL="914331" indent="0">
              <a:buNone/>
              <a:defRPr sz="1600"/>
            </a:lvl3pPr>
            <a:lvl4pPr marL="1371495" indent="0">
              <a:buNone/>
              <a:defRPr sz="1400"/>
            </a:lvl4pPr>
            <a:lvl5pPr marL="1828660" indent="0">
              <a:buNone/>
              <a:defRPr sz="1400"/>
            </a:lvl5pPr>
            <a:lvl6pPr marL="2285826" indent="0">
              <a:buNone/>
              <a:defRPr sz="1400"/>
            </a:lvl6pPr>
            <a:lvl7pPr marL="2742990" indent="0">
              <a:buNone/>
              <a:defRPr sz="1400"/>
            </a:lvl7pPr>
            <a:lvl8pPr marL="3200156" indent="0">
              <a:buNone/>
              <a:defRPr sz="1400"/>
            </a:lvl8pPr>
            <a:lvl9pPr marL="3657321" indent="0">
              <a:buNone/>
              <a:defRPr sz="14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82168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246063" y="2092328"/>
            <a:ext cx="4246562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5025" y="2092328"/>
            <a:ext cx="4248150" cy="21882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58292200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28600" y="609604"/>
            <a:ext cx="8686800" cy="276999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28600" y="1535117"/>
            <a:ext cx="4268788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228600" y="2174876"/>
            <a:ext cx="4268788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9" y="1535117"/>
            <a:ext cx="4270375" cy="66479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165" indent="0">
              <a:buNone/>
              <a:defRPr sz="2000" b="1"/>
            </a:lvl2pPr>
            <a:lvl3pPr marL="914331" indent="0">
              <a:buNone/>
              <a:defRPr sz="1800" b="1"/>
            </a:lvl3pPr>
            <a:lvl4pPr marL="1371495" indent="0">
              <a:buNone/>
              <a:defRPr sz="1600" b="1"/>
            </a:lvl4pPr>
            <a:lvl5pPr marL="1828660" indent="0">
              <a:buNone/>
              <a:defRPr sz="1600" b="1"/>
            </a:lvl5pPr>
            <a:lvl6pPr marL="2285826" indent="0">
              <a:buNone/>
              <a:defRPr sz="1600" b="1"/>
            </a:lvl6pPr>
            <a:lvl7pPr marL="2742990" indent="0">
              <a:buNone/>
              <a:defRPr sz="1600" b="1"/>
            </a:lvl7pPr>
            <a:lvl8pPr marL="3200156" indent="0">
              <a:buNone/>
              <a:defRPr sz="1600" b="1"/>
            </a:lvl8pPr>
            <a:lvl9pPr marL="3657321" indent="0">
              <a:buNone/>
              <a:defRPr sz="1600" b="1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9" y="2174876"/>
            <a:ext cx="4270375" cy="1895904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10564211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dirty="0"/>
              <a:t>Click to edit Master title style</a:t>
            </a:r>
            <a:endParaRPr lang="en-GB" noProof="0" dirty="0"/>
          </a:p>
        </p:txBody>
      </p:sp>
    </p:spTree>
    <p:extLst>
      <p:ext uri="{BB962C8B-B14F-4D97-AF65-F5344CB8AC3E}">
        <p14:creationId xmlns:p14="http://schemas.microsoft.com/office/powerpoint/2010/main" val="291382386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16822179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4" y="623887"/>
            <a:ext cx="3008313" cy="55399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623888"/>
            <a:ext cx="5111750" cy="2517612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4" y="1785941"/>
            <a:ext cx="3008313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817488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F4CF84B9-409E-405B-AC42-68BD7303CAD6}" type="datetime1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841916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4"/>
            <a:ext cx="5486400" cy="27699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43198"/>
          </a:xfrm>
        </p:spPr>
        <p:txBody>
          <a:bodyPr/>
          <a:lstStyle>
            <a:lvl1pPr marL="0" indent="0">
              <a:buNone/>
              <a:defRPr sz="3200"/>
            </a:lvl1pPr>
            <a:lvl2pPr marL="457165" indent="0">
              <a:buNone/>
              <a:defRPr sz="2800"/>
            </a:lvl2pPr>
            <a:lvl3pPr marL="914331" indent="0">
              <a:buNone/>
              <a:defRPr sz="2400"/>
            </a:lvl3pPr>
            <a:lvl4pPr marL="1371495" indent="0">
              <a:buNone/>
              <a:defRPr sz="2000"/>
            </a:lvl4pPr>
            <a:lvl5pPr marL="1828660" indent="0">
              <a:buNone/>
              <a:defRPr sz="2000"/>
            </a:lvl5pPr>
            <a:lvl6pPr marL="2285826" indent="0">
              <a:buNone/>
              <a:defRPr sz="2000"/>
            </a:lvl6pPr>
            <a:lvl7pPr marL="2742990" indent="0">
              <a:buNone/>
              <a:defRPr sz="2000"/>
            </a:lvl7pPr>
            <a:lvl8pPr marL="3200156" indent="0">
              <a:buNone/>
              <a:defRPr sz="2000"/>
            </a:lvl8pPr>
            <a:lvl9pPr marL="3657321" indent="0">
              <a:buNone/>
              <a:defRPr sz="2000"/>
            </a:lvl9pPr>
          </a:lstStyle>
          <a:p>
            <a:pPr lvl="0"/>
            <a:r>
              <a:rPr lang="en-US" noProof="0" dirty="0"/>
              <a:t>Click icon to add picture</a:t>
            </a:r>
            <a:endParaRPr lang="en-GB" noProof="0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1"/>
            <a:ext cx="5486400" cy="199439"/>
          </a:xfrm>
        </p:spPr>
        <p:txBody>
          <a:bodyPr/>
          <a:lstStyle>
            <a:lvl1pPr marL="0" indent="0">
              <a:buNone/>
              <a:defRPr sz="1400"/>
            </a:lvl1pPr>
            <a:lvl2pPr marL="457165" indent="0">
              <a:buNone/>
              <a:defRPr sz="1200"/>
            </a:lvl2pPr>
            <a:lvl3pPr marL="914331" indent="0">
              <a:buNone/>
              <a:defRPr sz="1000"/>
            </a:lvl3pPr>
            <a:lvl4pPr marL="1371495" indent="0">
              <a:buNone/>
              <a:defRPr sz="900"/>
            </a:lvl4pPr>
            <a:lvl5pPr marL="1828660" indent="0">
              <a:buNone/>
              <a:defRPr sz="900"/>
            </a:lvl5pPr>
            <a:lvl6pPr marL="2285826" indent="0">
              <a:buNone/>
              <a:defRPr sz="900"/>
            </a:lvl6pPr>
            <a:lvl7pPr marL="2742990" indent="0">
              <a:buNone/>
              <a:defRPr sz="900"/>
            </a:lvl7pPr>
            <a:lvl8pPr marL="3200156" indent="0">
              <a:buNone/>
              <a:defRPr sz="900"/>
            </a:lvl8pPr>
            <a:lvl9pPr marL="3657321" indent="0">
              <a:buNone/>
              <a:defRPr sz="900"/>
            </a:lvl9pPr>
          </a:lstStyle>
          <a:p>
            <a:pPr lvl="0"/>
            <a:r>
              <a:rPr lang="en-US" noProof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7406613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563588" y="2092327"/>
            <a:ext cx="1329595" cy="3545587"/>
          </a:xfrm>
        </p:spPr>
        <p:txBody>
          <a:bodyPr vert="eaVert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390822818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8" descr="C:\Users\jmumaw\Desktop\DCS\Pics\Logo.JP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16182" y="596901"/>
            <a:ext cx="276999" cy="4140200"/>
          </a:xfrm>
        </p:spPr>
        <p:txBody>
          <a:bodyPr vert="eaVert"/>
          <a:lstStyle/>
          <a:p>
            <a:r>
              <a:rPr lang="en-US" noProof="0"/>
              <a:t>Click to edit Master title style</a:t>
            </a:r>
            <a:endParaRPr lang="en-GB" noProof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250603" y="596901"/>
            <a:ext cx="1329595" cy="4140200"/>
          </a:xfrm>
        </p:spPr>
        <p:txBody>
          <a:bodyPr vert="eaVert"/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</p:spTree>
    <p:extLst>
      <p:ext uri="{BB962C8B-B14F-4D97-AF65-F5344CB8AC3E}">
        <p14:creationId xmlns:p14="http://schemas.microsoft.com/office/powerpoint/2010/main" val="16624699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DDA1FA0-D395-4681-BF55-22293260D305}" type="datetime1">
              <a:rPr lang="en-US" smtClean="0"/>
              <a:t>8/16/2019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40279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B956F202-B076-4690-B6B2-960DC7C3B6A2}" type="datetime1">
              <a:rPr lang="en-US" smtClean="0"/>
              <a:t>8/1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830147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D6A38F2C-7960-4E9B-92AA-C3AB668217F3}" type="datetime1">
              <a:rPr lang="en-US" smtClean="0"/>
              <a:t>8/16/2019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40022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E69B7CE2-30F6-460D-BFD4-C1CB5F299034}" type="datetime1">
              <a:rPr lang="en-US" smtClean="0"/>
              <a:t>8/16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5963450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E2035CF-7DDE-4EA3-8E10-FDFD70BA9169}" type="datetime1">
              <a:rPr lang="en-US" smtClean="0"/>
              <a:t>8/16/2019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482436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8C499E67-5AFE-4D9D-AED6-ADE41968F254}" type="datetime1">
              <a:rPr lang="en-US" smtClean="0"/>
              <a:t>8/1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8551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58D10222-7FB0-476C-800A-23705670680C}" type="datetime1">
              <a:rPr lang="en-US" smtClean="0"/>
              <a:t>8/16/2019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0" y="6126163"/>
            <a:ext cx="9144000" cy="731837"/>
          </a:xfrm>
          <a:prstGeom prst="rect">
            <a:avLst/>
          </a:prstGeom>
        </p:spPr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/>
          <a:lstStyle/>
          <a:p>
            <a:fld id="{AFCEFFF0-9380-7049-A803-178CCBCDB8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413039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jp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1417638"/>
            <a:ext cx="8229600" cy="7711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2374617"/>
            <a:ext cx="8229600" cy="33347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7" name="Picture 6" descr="PowerPoint-2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5709408"/>
            <a:ext cx="2926350" cy="1148592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9375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58034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Line 23"/>
          <p:cNvSpPr>
            <a:spLocks noChangeShapeType="1"/>
          </p:cNvSpPr>
          <p:nvPr/>
        </p:nvSpPr>
        <p:spPr bwMode="auto">
          <a:xfrm flipV="1">
            <a:off x="246063" y="457200"/>
            <a:ext cx="8669337" cy="0"/>
          </a:xfrm>
          <a:prstGeom prst="line">
            <a:avLst/>
          </a:prstGeom>
          <a:noFill/>
          <a:ln w="28575">
            <a:solidFill>
              <a:schemeClr val="bg2"/>
            </a:solidFill>
            <a:round/>
            <a:headEnd/>
            <a:tailEnd/>
          </a:ln>
        </p:spPr>
        <p:txBody>
          <a:bodyPr wrap="none" lIns="91433" tIns="45717" rIns="91433" bIns="45717" anchor="ctr"/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endParaRPr lang="en-ZA" sz="1400" dirty="0">
              <a:solidFill>
                <a:srgbClr val="000000"/>
              </a:solidFill>
            </a:endParaRPr>
          </a:p>
        </p:txBody>
      </p:sp>
      <p:sp>
        <p:nvSpPr>
          <p:cNvPr id="3075" name="Rectangle 24"/>
          <p:cNvSpPr>
            <a:spLocks noGrp="1" noChangeArrowheads="1"/>
          </p:cNvSpPr>
          <p:nvPr>
            <p:ph type="title"/>
          </p:nvPr>
        </p:nvSpPr>
        <p:spPr bwMode="auto">
          <a:xfrm>
            <a:off x="246063" y="596900"/>
            <a:ext cx="8647112" cy="276225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line: (20 pt.) Arial bold</a:t>
            </a:r>
          </a:p>
        </p:txBody>
      </p:sp>
      <p:sp>
        <p:nvSpPr>
          <p:cNvPr id="3076" name="Rectangle 26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6063" y="2092325"/>
            <a:ext cx="8647112" cy="26590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Text: 16-pt. Arial with Wingdings square square bullet 100%</a:t>
            </a:r>
          </a:p>
          <a:p>
            <a:pPr lvl="1"/>
            <a:r>
              <a:rPr lang="en-GB"/>
              <a:t>Second-level bullet — Arial round</a:t>
            </a:r>
          </a:p>
          <a:p>
            <a:pPr lvl="2"/>
            <a:r>
              <a:rPr lang="en-GB"/>
              <a:t>Third-level bullet — Arial Em dash</a:t>
            </a:r>
          </a:p>
          <a:p>
            <a:pPr lvl="3"/>
            <a:r>
              <a:rPr lang="en-GB"/>
              <a:t>Fourth-level bullet — Arial Em dash</a:t>
            </a:r>
          </a:p>
          <a:p>
            <a:pPr lvl="4"/>
            <a:r>
              <a:rPr lang="en-GB"/>
              <a:t>xx</a:t>
            </a:r>
          </a:p>
          <a:p>
            <a:pPr lvl="0"/>
            <a:r>
              <a:rPr lang="en-GB"/>
              <a:t>Text: 16 pt. Arial, plain text sentence case</a:t>
            </a:r>
          </a:p>
          <a:p>
            <a:pPr lvl="1"/>
            <a:r>
              <a:rPr lang="en-GB"/>
              <a:t>Second-level bullet</a:t>
            </a:r>
          </a:p>
          <a:p>
            <a:pPr lvl="2"/>
            <a:r>
              <a:rPr lang="en-GB"/>
              <a:t>Third-level bullet</a:t>
            </a:r>
          </a:p>
          <a:p>
            <a:pPr lvl="3"/>
            <a:r>
              <a:rPr lang="en-GB"/>
              <a:t>Fourth-level bullet</a:t>
            </a:r>
          </a:p>
        </p:txBody>
      </p:sp>
      <p:sp>
        <p:nvSpPr>
          <p:cNvPr id="1029" name="Rectangle 28"/>
          <p:cNvSpPr>
            <a:spLocks noChangeArrowheads="1"/>
          </p:cNvSpPr>
          <p:nvPr/>
        </p:nvSpPr>
        <p:spPr bwMode="auto">
          <a:xfrm>
            <a:off x="8650288" y="6705600"/>
            <a:ext cx="265112" cy="1381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r" defTabSz="914400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fld id="{851172FB-5EEA-4105-882C-8D3DDB9655BA}" type="slidenum">
              <a:rPr lang="en-GB" sz="900">
                <a:solidFill>
                  <a:srgbClr val="77787B"/>
                </a:solidFill>
              </a:rPr>
              <a:pPr algn="r" defTabSz="914400"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GB" sz="900" dirty="0">
              <a:solidFill>
                <a:srgbClr val="77787B"/>
              </a:solidFill>
            </a:endParaRPr>
          </a:p>
        </p:txBody>
      </p:sp>
      <p:pic>
        <p:nvPicPr>
          <p:cNvPr id="3079" name="Picture 6" descr="C:\Users\jmumaw\Desktop\DCS\Pics\Logo.JPG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3900488" y="0"/>
            <a:ext cx="1362075" cy="4476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2" name="Text Box 39"/>
          <p:cNvSpPr txBox="1">
            <a:spLocks noChangeArrowheads="1"/>
          </p:cNvSpPr>
          <p:nvPr/>
        </p:nvSpPr>
        <p:spPr bwMode="auto">
          <a:xfrm>
            <a:off x="242888" y="80963"/>
            <a:ext cx="1685925" cy="334962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lIns="72000" tIns="72000" rIns="72000" bIns="72000">
            <a:spAutoFit/>
          </a:bodyPr>
          <a:lstStyle/>
          <a:p>
            <a:pPr defTabSz="914400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GB" sz="1400" i="1" dirty="0">
                <a:solidFill>
                  <a:srgbClr val="000000"/>
                </a:solidFill>
              </a:rPr>
              <a:t>High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97100612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</p:sldLayoutIdLst>
  <p:hf hdr="0" ftr="0" dt="0"/>
  <p:txStyles>
    <p:titleStyle>
      <a:lvl1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16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6pPr>
      <a:lvl7pPr marL="91433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7pPr>
      <a:lvl8pPr marL="13714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8pPr>
      <a:lvl9pPr marL="18286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4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266700" indent="-266700" algn="l" rtl="0" eaLnBrk="0" fontAlgn="base" hangingPunct="0">
        <a:lnSpc>
          <a:spcPct val="90000"/>
        </a:lnSpc>
        <a:spcBef>
          <a:spcPct val="90000"/>
        </a:spcBef>
        <a:spcAft>
          <a:spcPct val="0"/>
        </a:spcAft>
        <a:buClr>
          <a:schemeClr val="bg2"/>
        </a:buClr>
        <a:buFont typeface="Wingdings" pitchFamily="2" charset="2"/>
        <a:buChar char="n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458788" indent="-188913" algn="l" rtl="0" eaLnBrk="0" fontAlgn="base" hangingPunct="0">
        <a:lnSpc>
          <a:spcPct val="90000"/>
        </a:lnSpc>
        <a:spcBef>
          <a:spcPct val="50000"/>
        </a:spcBef>
        <a:spcAft>
          <a:spcPct val="0"/>
        </a:spcAft>
        <a:buClr>
          <a:schemeClr val="bg2"/>
        </a:buClr>
        <a:buFont typeface="Arial" charset="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623888" indent="-161925" algn="l" rtl="0" eaLnBrk="0" fontAlgn="base" hangingPunct="0">
        <a:lnSpc>
          <a:spcPct val="90000"/>
        </a:lnSpc>
        <a:spcBef>
          <a:spcPct val="30000"/>
        </a:spcBef>
        <a:spcAft>
          <a:spcPct val="0"/>
        </a:spcAft>
        <a:buClr>
          <a:schemeClr val="bg2"/>
        </a:buClr>
        <a:buFont typeface="Arial" charset="0"/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793750" indent="-166688" algn="l" rtl="0" eaLnBrk="0" fontAlgn="base" hangingPunct="0">
        <a:lnSpc>
          <a:spcPct val="90000"/>
        </a:lnSpc>
        <a:spcBef>
          <a:spcPct val="10000"/>
        </a:spcBef>
        <a:spcAft>
          <a:spcPct val="0"/>
        </a:spcAft>
        <a:buClr>
          <a:schemeClr val="bg2"/>
        </a:buClr>
        <a:buFont typeface="Arial" charset="0"/>
        <a:buChar char="-"/>
        <a:defRPr sz="1600">
          <a:solidFill>
            <a:schemeClr val="tx1"/>
          </a:solidFill>
          <a:latin typeface="+mn-lt"/>
          <a:cs typeface="+mn-cs"/>
        </a:defRPr>
      </a:lvl4pPr>
      <a:lvl5pPr marL="955675" indent="-158750" algn="l" rtl="0" eaLnBrk="0" fontAlgn="base" hangingPunct="0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5pPr>
      <a:lvl6pPr marL="1414356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6pPr>
      <a:lvl7pPr marL="1871520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7pPr>
      <a:lvl8pPr marL="2328685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8pPr>
      <a:lvl9pPr marL="2785851" indent="-16032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buClr>
          <a:schemeClr val="bg2"/>
        </a:buClr>
        <a:buFont typeface="Arial" charset="0"/>
        <a:buChar char="­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6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3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95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6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82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90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156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321" algn="l" defTabSz="91433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7.xml"/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12" Type="http://schemas.microsoft.com/office/2007/relationships/diagramDrawing" Target="../diagrams/drawing7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6.xml"/><Relationship Id="rId11" Type="http://schemas.openxmlformats.org/officeDocument/2006/relationships/diagramColors" Target="../diagrams/colors7.xml"/><Relationship Id="rId5" Type="http://schemas.openxmlformats.org/officeDocument/2006/relationships/diagramQuickStyle" Target="../diagrams/quickStyle6.xml"/><Relationship Id="rId10" Type="http://schemas.openxmlformats.org/officeDocument/2006/relationships/diagramQuickStyle" Target="../diagrams/quickStyle7.xml"/><Relationship Id="rId4" Type="http://schemas.openxmlformats.org/officeDocument/2006/relationships/diagramLayout" Target="../diagrams/layout6.xml"/><Relationship Id="rId9" Type="http://schemas.openxmlformats.org/officeDocument/2006/relationships/diagramLayout" Target="../diagrams/layout7.xml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2.xml"/><Relationship Id="rId3" Type="http://schemas.openxmlformats.org/officeDocument/2006/relationships/diagramLayout" Target="../diagrams/layout1.xml"/><Relationship Id="rId7" Type="http://schemas.openxmlformats.org/officeDocument/2006/relationships/diagramData" Target="../diagrams/data2.xml"/><Relationship Id="rId2" Type="http://schemas.openxmlformats.org/officeDocument/2006/relationships/diagramData" Target="../diagrams/data1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1.xml"/><Relationship Id="rId11" Type="http://schemas.microsoft.com/office/2007/relationships/diagramDrawing" Target="../diagrams/drawing2.xml"/><Relationship Id="rId5" Type="http://schemas.openxmlformats.org/officeDocument/2006/relationships/diagramColors" Target="../diagrams/colors1.xml"/><Relationship Id="rId10" Type="http://schemas.openxmlformats.org/officeDocument/2006/relationships/diagramColors" Target="../diagrams/colors2.xml"/><Relationship Id="rId4" Type="http://schemas.openxmlformats.org/officeDocument/2006/relationships/diagramQuickStyle" Target="../diagrams/quickStyle1.xml"/><Relationship Id="rId9" Type="http://schemas.openxmlformats.org/officeDocument/2006/relationships/diagramQuickStyle" Target="../diagrams/quickStyle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4.xml"/><Relationship Id="rId2" Type="http://schemas.openxmlformats.org/officeDocument/2006/relationships/diagramData" Target="../diagrams/data4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4.xml"/><Relationship Id="rId5" Type="http://schemas.openxmlformats.org/officeDocument/2006/relationships/diagramColors" Target="../diagrams/colors4.xml"/><Relationship Id="rId4" Type="http://schemas.openxmlformats.org/officeDocument/2006/relationships/diagramQuickStyle" Target="../diagrams/quickStyle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6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17589"/>
            <a:ext cx="9143086" cy="6858000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175364" y="4193557"/>
            <a:ext cx="6918772" cy="58753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ts val="3600"/>
              </a:lnSpc>
            </a:pPr>
            <a:r>
              <a:rPr lang="en-US" sz="4400" b="1" dirty="0">
                <a:solidFill>
                  <a:srgbClr val="008F00"/>
                </a:solidFill>
              </a:rPr>
              <a:t>Branch Finance</a:t>
            </a:r>
          </a:p>
        </p:txBody>
      </p:sp>
      <p:sp>
        <p:nvSpPr>
          <p:cNvPr id="7" name="TextBox 6"/>
          <p:cNvSpPr txBox="1"/>
          <p:nvPr/>
        </p:nvSpPr>
        <p:spPr>
          <a:xfrm>
            <a:off x="3594971" y="341348"/>
            <a:ext cx="5136038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>
              <a:lnSpc>
                <a:spcPts val="3600"/>
              </a:lnSpc>
            </a:pPr>
            <a:r>
              <a:rPr lang="en-US" sz="2800" i="1" dirty="0">
                <a:solidFill>
                  <a:schemeClr val="bg1"/>
                </a:solidFill>
              </a:rPr>
              <a:t>2019 Strategic Planning Session</a:t>
            </a:r>
          </a:p>
          <a:p>
            <a:pPr algn="r">
              <a:lnSpc>
                <a:spcPts val="3600"/>
              </a:lnSpc>
            </a:pPr>
            <a:r>
              <a:rPr lang="en-US" sz="2800" i="1" dirty="0">
                <a:solidFill>
                  <a:schemeClr val="bg1"/>
                </a:solidFill>
              </a:rPr>
              <a:t>16 August 2019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940272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519522525"/>
              </p:ext>
            </p:extLst>
          </p:nvPr>
        </p:nvGraphicFramePr>
        <p:xfrm>
          <a:off x="207873" y="1638655"/>
          <a:ext cx="8029042" cy="35966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84988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4118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7767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896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New</a:t>
                      </a:r>
                      <a:r>
                        <a:rPr lang="en-ZA" baseline="0" dirty="0"/>
                        <a:t> methods of work/proposed action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Target</a:t>
                      </a:r>
                      <a:r>
                        <a:rPr lang="en-ZA" baseline="0" dirty="0"/>
                        <a:t> date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Responsible Un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Enabl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88900" marR="0" lvl="0" indent="-88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utomate compliance monitoring by collating, generation of compliance inspection exception reports, analysis and providing useful compliance reports to management,</a:t>
                      </a:r>
                    </a:p>
                    <a:p>
                      <a:pPr marL="88900" marR="0" lvl="0" indent="-88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kumimoji="0" lang="en-ZA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chemeClr val="dk1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ZA" sz="1400" dirty="0">
                          <a:latin typeface="+mn-lt"/>
                          <a:cs typeface="Arial" panose="020B0604020202020204" pitchFamily="34" charset="0"/>
                        </a:rPr>
                        <a:t>31</a:t>
                      </a:r>
                      <a:r>
                        <a:rPr lang="en-ZA" sz="1400" baseline="0" dirty="0">
                          <a:latin typeface="+mn-lt"/>
                          <a:cs typeface="Arial" panose="020B0604020202020204" pitchFamily="34" charset="0"/>
                        </a:rPr>
                        <a:t> March 2021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ZA" sz="1400" dirty="0">
                          <a:latin typeface="+mn-lt"/>
                          <a:cs typeface="Arial" panose="020B0604020202020204" pitchFamily="34" charset="0"/>
                        </a:rPr>
                        <a:t>I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ZA" sz="1400" dirty="0">
                          <a:latin typeface="+mn-lt"/>
                          <a:cs typeface="Arial" panose="020B0604020202020204" pitchFamily="34" charset="0"/>
                        </a:rPr>
                        <a:t>Capital Budget</a:t>
                      </a:r>
                      <a:r>
                        <a:rPr lang="en-ZA" sz="1400" baseline="0" dirty="0">
                          <a:latin typeface="+mn-lt"/>
                          <a:cs typeface="Arial" panose="020B0604020202020204" pitchFamily="34" charset="0"/>
                        </a:rPr>
                        <a:t> for the procurement of a system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914400">
                <a:tc>
                  <a:txBody>
                    <a:bodyPr/>
                    <a:lstStyle/>
                    <a:p>
                      <a:pPr marL="88900" indent="-88900">
                        <a:buFont typeface="Arial" panose="020B0604020202020204" pitchFamily="34" charset="0"/>
                        <a:buChar char="•"/>
                      </a:pPr>
                      <a:r>
                        <a:rPr lang="en-ZA" sz="1400" baseline="0" dirty="0">
                          <a:latin typeface="+mn-lt"/>
                          <a:cs typeface="Arial" panose="020B0604020202020204" pitchFamily="34" charset="0"/>
                        </a:rPr>
                        <a:t>Review structure of regional inspectorate to support Internal Control function.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kumimoji="0" lang="en-ZA" sz="14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black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endParaRPr lang="en-ZA" sz="1400" baseline="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ZA" sz="1400" dirty="0">
                          <a:latin typeface="+mn-lt"/>
                          <a:cs typeface="Arial" panose="020B0604020202020204" pitchFamily="34" charset="0"/>
                        </a:rPr>
                        <a:t>31</a:t>
                      </a:r>
                      <a:r>
                        <a:rPr lang="en-ZA" sz="1400" baseline="0" dirty="0">
                          <a:latin typeface="+mn-lt"/>
                          <a:cs typeface="Arial" panose="020B0604020202020204" pitchFamily="34" charset="0"/>
                        </a:rPr>
                        <a:t> March 2022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lnSpc>
                          <a:spcPct val="100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None/>
                      </a:pPr>
                      <a:r>
                        <a:rPr lang="en-ZA" sz="1400" dirty="0">
                          <a:latin typeface="+mn-lt"/>
                          <a:cs typeface="Arial" panose="020B0604020202020204" pitchFamily="34" charset="0"/>
                        </a:rPr>
                        <a:t>IC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r>
                        <a:rPr lang="en-ZA" sz="1400" dirty="0">
                          <a:latin typeface="+mn-lt"/>
                          <a:cs typeface="Arial" panose="020B0604020202020204" pitchFamily="34" charset="0"/>
                        </a:rPr>
                        <a:t>Management</a:t>
                      </a:r>
                      <a:r>
                        <a:rPr lang="en-ZA" sz="1400" baseline="0" dirty="0">
                          <a:latin typeface="+mn-lt"/>
                          <a:cs typeface="Arial" panose="020B0604020202020204" pitchFamily="34" charset="0"/>
                        </a:rPr>
                        <a:t> support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/>
              <a:t>			</a:t>
            </a:r>
            <a:r>
              <a:rPr lang="en-US" sz="2800" b="1" dirty="0">
                <a:solidFill>
                  <a:srgbClr val="00B050"/>
                </a:solidFill>
              </a:rPr>
              <a:t>Implementation plan - ICC</a:t>
            </a:r>
            <a:endParaRPr lang="en-US" sz="2800" b="1" dirty="0">
              <a:solidFill>
                <a:srgbClr val="008F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0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355576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52048929"/>
              </p:ext>
            </p:extLst>
          </p:nvPr>
        </p:nvGraphicFramePr>
        <p:xfrm>
          <a:off x="234951" y="1127760"/>
          <a:ext cx="8826498" cy="41681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38759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1780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2608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What has been achieved in the past 5 years and what has worked we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hat have</a:t>
                      </a:r>
                      <a:r>
                        <a:rPr lang="en-ZA" baseline="0" dirty="0"/>
                        <a:t> we failed to achieve in the past 5 years and why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hat need to be done differently</a:t>
                      </a:r>
                      <a:r>
                        <a:rPr lang="en-ZA" baseline="0" dirty="0"/>
                        <a:t> / change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07820">
                <a:tc>
                  <a:txBody>
                    <a:bodyPr/>
                    <a:lstStyle/>
                    <a:p>
                      <a:r>
                        <a:rPr lang="en-ZA" sz="1400" dirty="0">
                          <a:latin typeface="+mn-lt"/>
                          <a:cs typeface="Arial" panose="020B0604020202020204" pitchFamily="34" charset="0"/>
                        </a:rPr>
                        <a:t>Establishment</a:t>
                      </a:r>
                      <a:r>
                        <a:rPr lang="en-ZA" sz="1400" baseline="0" dirty="0">
                          <a:latin typeface="+mn-lt"/>
                          <a:cs typeface="Arial" panose="020B0604020202020204" pitchFamily="34" charset="0"/>
                        </a:rPr>
                        <a:t> of the Corporate Risk Management function and governance structures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>
                          <a:latin typeface="+mn-lt"/>
                          <a:cs typeface="Arial" panose="020B0604020202020204" pitchFamily="34" charset="0"/>
                        </a:rPr>
                        <a:t>Realignment</a:t>
                      </a:r>
                      <a:r>
                        <a:rPr lang="en-ZA" sz="1400" baseline="0" dirty="0">
                          <a:latin typeface="+mn-lt"/>
                          <a:cs typeface="Arial" panose="020B0604020202020204" pitchFamily="34" charset="0"/>
                        </a:rPr>
                        <a:t> of Internal Assurance processes to support risk-based approach.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indent="-88900">
                        <a:buFont typeface="Arial" panose="020B0604020202020204" pitchFamily="34" charset="0"/>
                        <a:buChar char="•"/>
                      </a:pPr>
                      <a:r>
                        <a:rPr kumimoji="0" lang="en-Z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alignment of  Assurance Services </a:t>
                      </a:r>
                    </a:p>
                    <a:p>
                      <a:pPr marL="88900" marR="0" lvl="0" indent="-88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utomate risk management processes through collation, analysis and evaluation of information. </a:t>
                      </a:r>
                    </a:p>
                    <a:p>
                      <a:pPr marL="88900" marR="0" lvl="0" indent="-88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entralize Corporate Risk Management function and provide limited resources at management areas to support processes (appoint Risk champions).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>
                          <a:latin typeface="+mn-lt"/>
                          <a:cs typeface="Arial" panose="020B0604020202020204" pitchFamily="34" charset="0"/>
                        </a:rPr>
                        <a:t>Capacitation</a:t>
                      </a:r>
                      <a:r>
                        <a:rPr lang="en-ZA" sz="1400" baseline="0" dirty="0">
                          <a:latin typeface="+mn-lt"/>
                          <a:cs typeface="Arial" panose="020B0604020202020204" pitchFamily="34" charset="0"/>
                        </a:rPr>
                        <a:t> of the Internal Control, Loss Management and Inspectorate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>
                          <a:latin typeface="+mn-lt"/>
                          <a:cs typeface="Arial" panose="020B0604020202020204" pitchFamily="34" charset="0"/>
                        </a:rPr>
                        <a:t>Improve internal</a:t>
                      </a:r>
                      <a:r>
                        <a:rPr lang="en-ZA" sz="1400" baseline="0" dirty="0">
                          <a:latin typeface="+mn-lt"/>
                          <a:cs typeface="Arial" panose="020B0604020202020204" pitchFamily="34" charset="0"/>
                        </a:rPr>
                        <a:t> control maturity to desired levels due to lack capacity constraints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marR="0" lvl="0" indent="-88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utomate internal control processes to collate, analyse and evaluate information. </a:t>
                      </a:r>
                    </a:p>
                    <a:p>
                      <a:pPr marL="88900" marR="0" lvl="0" indent="-88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Assign responsibilities to specific individuals.</a:t>
                      </a:r>
                    </a:p>
                    <a:p>
                      <a:pPr marL="88900" marR="0" lvl="0" indent="-88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Currently, the Internal Control function has only three( 3) resources, therefore it should be capacitated with at least .ten(10) officials with a Director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Historical performance - ICC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570423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3332955"/>
              </p:ext>
            </p:extLst>
          </p:nvPr>
        </p:nvGraphicFramePr>
        <p:xfrm>
          <a:off x="177801" y="1134533"/>
          <a:ext cx="8695266" cy="4639817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7135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4113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3254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10805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146303">
                <a:tc>
                  <a:txBody>
                    <a:bodyPr/>
                    <a:lstStyle/>
                    <a:p>
                      <a:r>
                        <a:rPr lang="en-ZA" dirty="0"/>
                        <a:t>What are the core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ow are these delivered </a:t>
                      </a:r>
                    </a:p>
                    <a:p>
                      <a:r>
                        <a:rPr lang="en-ZA" dirty="0"/>
                        <a:t>(service</a:t>
                      </a:r>
                      <a:r>
                        <a:rPr lang="en-ZA" baseline="0" dirty="0"/>
                        <a:t> delivery arrangements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eaknesses</a:t>
                      </a:r>
                      <a:r>
                        <a:rPr lang="en-ZA" baseline="0" dirty="0"/>
                        <a:t> with the current arrangement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dirty="0"/>
                        <a:t>High</a:t>
                      </a:r>
                      <a:r>
                        <a:rPr lang="en-ZA" baseline="0" dirty="0"/>
                        <a:t> level intervention/alternative modes of delivery</a:t>
                      </a:r>
                      <a:endParaRPr lang="en-ZA" dirty="0"/>
                    </a:p>
                    <a:p>
                      <a:r>
                        <a:rPr lang="en-ZA" dirty="0"/>
                        <a:t>.   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451097"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b="1" dirty="0"/>
                        <a:t>Procurement and Logistics Management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Procedures that</a:t>
                      </a:r>
                      <a:r>
                        <a:rPr lang="en-ZA" sz="1400" baseline="0" dirty="0"/>
                        <a:t> are linked to legislative frameworks.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baseline="0" dirty="0"/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baseline="0" dirty="0"/>
                        <a:t>Decentralised system of procurement at management areas and logistics store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Skills</a:t>
                      </a:r>
                      <a:r>
                        <a:rPr lang="en-ZA" sz="1400" baseline="0" dirty="0"/>
                        <a:t> gap, 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baseline="0" dirty="0"/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baseline="0" dirty="0"/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baseline="0" dirty="0"/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baseline="0" dirty="0"/>
                        <a:t>Capacity constraints resulting in lack of segregation of duties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baseline="0" dirty="0"/>
                        <a:t>and non compliance to procurement prescripts,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Review</a:t>
                      </a:r>
                      <a:r>
                        <a:rPr lang="en-ZA" sz="1400" baseline="0" dirty="0"/>
                        <a:t> the current Supply chain management  operating model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baseline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urrent delivery method – SCM [1/2]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742292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036801608"/>
              </p:ext>
            </p:extLst>
          </p:nvPr>
        </p:nvGraphicFramePr>
        <p:xfrm>
          <a:off x="168964" y="1341341"/>
          <a:ext cx="8537713" cy="30784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5706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3411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12929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036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057827">
                <a:tc>
                  <a:txBody>
                    <a:bodyPr/>
                    <a:lstStyle/>
                    <a:p>
                      <a:r>
                        <a:rPr lang="en-ZA" sz="1600" dirty="0"/>
                        <a:t>What are the core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How are these delivered </a:t>
                      </a:r>
                    </a:p>
                    <a:p>
                      <a:r>
                        <a:rPr lang="en-ZA" sz="1600" dirty="0"/>
                        <a:t>(service</a:t>
                      </a:r>
                      <a:r>
                        <a:rPr lang="en-ZA" sz="1600" baseline="0" dirty="0"/>
                        <a:t> delivery arrangements)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Weaknesses</a:t>
                      </a:r>
                      <a:r>
                        <a:rPr lang="en-ZA" sz="1600" baseline="0" dirty="0"/>
                        <a:t> with the current arrangements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High</a:t>
                      </a:r>
                      <a:r>
                        <a:rPr lang="en-ZA" sz="1600" baseline="0" dirty="0"/>
                        <a:t> level intervention/alternative modes of delivery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74287">
                <a:tc>
                  <a:txBody>
                    <a:bodyPr/>
                    <a:lstStyle/>
                    <a:p>
                      <a:r>
                        <a:rPr lang="en-ZA" sz="1400" b="1" dirty="0"/>
                        <a:t>Contract</a:t>
                      </a:r>
                      <a:r>
                        <a:rPr lang="en-ZA" sz="1400" b="1" baseline="0" dirty="0"/>
                        <a:t> management</a:t>
                      </a:r>
                      <a:endParaRPr lang="en-ZA" sz="1400" b="1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Monitoring contract</a:t>
                      </a:r>
                      <a:r>
                        <a:rPr lang="en-ZA" sz="1400" baseline="0" dirty="0"/>
                        <a:t> registers</a:t>
                      </a:r>
                    </a:p>
                    <a:p>
                      <a:endParaRPr lang="en-ZA" sz="1400" baseline="0" dirty="0"/>
                    </a:p>
                    <a:p>
                      <a:r>
                        <a:rPr lang="en-ZA" sz="1400" baseline="0" dirty="0"/>
                        <a:t>Maintaining contractual commitments </a:t>
                      </a:r>
                    </a:p>
                    <a:p>
                      <a:endParaRPr lang="en-ZA" sz="1400" baseline="0" dirty="0"/>
                    </a:p>
                    <a:p>
                      <a:r>
                        <a:rPr lang="en-ZA" sz="1400" baseline="0" dirty="0"/>
                        <a:t>Monitoring supplier performance 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Skills</a:t>
                      </a:r>
                      <a:r>
                        <a:rPr lang="en-ZA" sz="1400" baseline="0" dirty="0"/>
                        <a:t> gap and lack of contract management performed at regional level and management area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Review</a:t>
                      </a:r>
                      <a:r>
                        <a:rPr lang="en-ZA" sz="1400" baseline="0" dirty="0"/>
                        <a:t> the current method of awarding term contracts.</a:t>
                      </a:r>
                    </a:p>
                    <a:p>
                      <a:endParaRPr lang="en-ZA" sz="1400" baseline="0" dirty="0"/>
                    </a:p>
                    <a:p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68965" y="197"/>
            <a:ext cx="878618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urrent delivery method – SCM [2/2]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774209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304666468"/>
              </p:ext>
            </p:extLst>
          </p:nvPr>
        </p:nvGraphicFramePr>
        <p:xfrm>
          <a:off x="258268" y="929707"/>
          <a:ext cx="8695266" cy="424443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121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117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60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16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43921">
                <a:tc>
                  <a:txBody>
                    <a:bodyPr/>
                    <a:lstStyle/>
                    <a:p>
                      <a:r>
                        <a:rPr lang="en-ZA" dirty="0"/>
                        <a:t>New</a:t>
                      </a:r>
                      <a:r>
                        <a:rPr lang="en-ZA" baseline="0" dirty="0"/>
                        <a:t> methods of work/proposed action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Target</a:t>
                      </a:r>
                      <a:r>
                        <a:rPr lang="en-ZA" baseline="0" dirty="0"/>
                        <a:t> date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Responsible Un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Enabl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65545">
                <a:tc>
                  <a:txBody>
                    <a:bodyPr/>
                    <a:lstStyle/>
                    <a:p>
                      <a:r>
                        <a:rPr lang="en-ZA" sz="1400" baseline="0" dirty="0"/>
                        <a:t>Review the operating model by developing Standard Operating Procedures</a:t>
                      </a:r>
                    </a:p>
                    <a:p>
                      <a:endParaRPr lang="en-ZA" sz="1400" baseline="0" dirty="0"/>
                    </a:p>
                    <a:p>
                      <a:r>
                        <a:rPr lang="en-ZA" sz="1400" baseline="0" dirty="0"/>
                        <a:t>Review current procurement methods, and shared Services concept.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31</a:t>
                      </a:r>
                      <a:r>
                        <a:rPr lang="en-ZA" sz="1400" baseline="0" dirty="0"/>
                        <a:t> March 2021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baseline="0" dirty="0"/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baseline="0" dirty="0"/>
                        <a:t>31 March 2023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SC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Management</a:t>
                      </a:r>
                      <a:r>
                        <a:rPr lang="en-ZA" sz="1400" baseline="0" dirty="0"/>
                        <a:t> support</a:t>
                      </a: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32750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/>
                        <a:t>Contribute</a:t>
                      </a:r>
                      <a:r>
                        <a:rPr lang="en-ZA" sz="1400" baseline="0" dirty="0"/>
                        <a:t> towards growing small businesses and </a:t>
                      </a: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cooperatives and designated groups through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30% set aside to support SMME &amp; Cooperatives (PPPFA) &amp; Strategic Procurement </a:t>
                      </a: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400" dirty="0">
                        <a:solidFill>
                          <a:schemeClr val="tx1"/>
                        </a:solidFill>
                        <a:cs typeface="Arial" panose="020B0604020202020204" pitchFamily="34" charset="0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Automate</a:t>
                      </a:r>
                      <a:r>
                        <a:rPr lang="en-US" sz="1400" baseline="0" dirty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 contract management system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31</a:t>
                      </a:r>
                      <a:r>
                        <a:rPr lang="en-ZA" sz="1400" baseline="0" dirty="0"/>
                        <a:t> March 2022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baseline="0" dirty="0"/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baseline="0" dirty="0"/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baseline="0" dirty="0"/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baseline="0" dirty="0"/>
                        <a:t>31 March 2022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/>
                        <a:t>SCM</a:t>
                      </a:r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400" dirty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400" dirty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400" dirty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/>
                        <a:t>SC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/>
                        <a:t>Management</a:t>
                      </a:r>
                      <a:r>
                        <a:rPr lang="en-ZA" sz="1400" baseline="0" dirty="0"/>
                        <a:t> support</a:t>
                      </a:r>
                      <a:endParaRPr lang="en-ZA" sz="1400" dirty="0"/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dirty="0"/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dirty="0"/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dirty="0"/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/>
                        <a:t>Management</a:t>
                      </a:r>
                      <a:r>
                        <a:rPr lang="en-ZA" sz="1400" baseline="0" dirty="0"/>
                        <a:t> support</a:t>
                      </a: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Implementation plan - SCM</a:t>
            </a:r>
            <a:endParaRPr lang="en-US" sz="2800" b="1" dirty="0">
              <a:solidFill>
                <a:srgbClr val="008F00"/>
              </a:solidFill>
            </a:endParaRP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1611351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35445196"/>
              </p:ext>
            </p:extLst>
          </p:nvPr>
        </p:nvGraphicFramePr>
        <p:xfrm>
          <a:off x="457200" y="1127760"/>
          <a:ext cx="8229600" cy="344424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7432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43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What has been achieved in the past 5 years and what has worked we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hat have</a:t>
                      </a:r>
                      <a:r>
                        <a:rPr lang="en-ZA" baseline="0" dirty="0"/>
                        <a:t> we failed to achieve in the past 5 years and why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hat need to be done differently</a:t>
                      </a:r>
                      <a:r>
                        <a:rPr lang="en-ZA" baseline="0" dirty="0"/>
                        <a:t> / change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/>
                        <a:t>Unqualified</a:t>
                      </a:r>
                      <a:r>
                        <a:rPr lang="en-ZA" sz="1400" baseline="0" dirty="0"/>
                        <a:t> audit opinion 15/16 and 16/17 financial year within assets management, Internal controls were implemented  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To maintain</a:t>
                      </a:r>
                      <a:r>
                        <a:rPr lang="en-ZA" sz="1400" baseline="0" dirty="0"/>
                        <a:t> unqualified audit opinion internal control could not be implemented due to lack of capacity. </a:t>
                      </a:r>
                    </a:p>
                    <a:p>
                      <a:endParaRPr lang="en-ZA" sz="1400" baseline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baseline="0" dirty="0"/>
                        <a:t>Review the operating model.</a:t>
                      </a:r>
                    </a:p>
                    <a:p>
                      <a:endParaRPr lang="en-ZA" sz="1400" baseline="0" dirty="0"/>
                    </a:p>
                    <a:p>
                      <a:r>
                        <a:rPr lang="en-ZA" sz="1400" baseline="0" dirty="0"/>
                        <a:t>Review current procurement methods, and Shared Services concept.</a:t>
                      </a: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ZA" sz="1400" dirty="0"/>
                        <a:t>Contribute</a:t>
                      </a:r>
                      <a:r>
                        <a:rPr lang="en-ZA" sz="1400" baseline="0" dirty="0"/>
                        <a:t> towards empowerment of Black owned businesses through set aside of levels 1 – 4 for procurement with threshold below R500 k 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baseline="0" dirty="0"/>
                        <a:t>Targeting small businesses and cooperativ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1400" dirty="0"/>
                        <a:t>Contribute</a:t>
                      </a:r>
                      <a:r>
                        <a:rPr lang="en-ZA" sz="1400" baseline="0" dirty="0"/>
                        <a:t> towards growing small businesses and </a:t>
                      </a:r>
                      <a:r>
                        <a:rPr lang="en-ZA" sz="1400" baseline="0" dirty="0">
                          <a:solidFill>
                            <a:schemeClr val="tx1"/>
                          </a:solidFill>
                        </a:rPr>
                        <a:t>cooperatives and designated groups through </a:t>
                      </a:r>
                      <a:r>
                        <a:rPr lang="en-US" sz="1400" dirty="0">
                          <a:solidFill>
                            <a:schemeClr val="tx1"/>
                          </a:solidFill>
                          <a:cs typeface="Arial" panose="020B0604020202020204" pitchFamily="34" charset="0"/>
                        </a:rPr>
                        <a:t>30% set aside to support SMME &amp; Cooperatives (PPPFA)</a:t>
                      </a:r>
                      <a:endParaRPr lang="en-ZA" sz="1400" dirty="0">
                        <a:solidFill>
                          <a:schemeClr val="tx1"/>
                        </a:solidFill>
                      </a:endParaRPr>
                    </a:p>
                    <a:p>
                      <a:r>
                        <a:rPr lang="en-ZA" sz="1400" baseline="0" dirty="0"/>
                        <a:t> </a:t>
                      </a: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Historical performance – SCM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2270166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43643130"/>
              </p:ext>
            </p:extLst>
          </p:nvPr>
        </p:nvGraphicFramePr>
        <p:xfrm>
          <a:off x="347869" y="1161459"/>
          <a:ext cx="8289236" cy="401537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24958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68365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06732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04238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1057827">
                <a:tc>
                  <a:txBody>
                    <a:bodyPr/>
                    <a:lstStyle/>
                    <a:p>
                      <a:r>
                        <a:rPr lang="en-ZA" sz="1600" dirty="0"/>
                        <a:t>What are the core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How are these delivered </a:t>
                      </a:r>
                    </a:p>
                    <a:p>
                      <a:r>
                        <a:rPr lang="en-ZA" sz="1600" dirty="0"/>
                        <a:t>(service</a:t>
                      </a:r>
                      <a:r>
                        <a:rPr lang="en-ZA" sz="1600" baseline="0" dirty="0"/>
                        <a:t> delivery arrangements)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Weaknesses</a:t>
                      </a:r>
                      <a:r>
                        <a:rPr lang="en-ZA" sz="1600" baseline="0" dirty="0"/>
                        <a:t> with the current arrangements</a:t>
                      </a:r>
                      <a:endParaRPr lang="en-ZA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600" dirty="0"/>
                        <a:t>High</a:t>
                      </a:r>
                      <a:r>
                        <a:rPr lang="en-ZA" sz="1600" baseline="0" dirty="0"/>
                        <a:t> level intervention/alternative modes of delivery</a:t>
                      </a:r>
                      <a:endParaRPr lang="en-ZA" sz="16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47428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Co-ordinate and manage the budgetary processes 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algn="l" defTabSz="457200" rtl="0" eaLnBrk="1" latinLnBrk="0" hangingPunct="1"/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Internal</a:t>
                      </a:r>
                      <a:r>
                        <a:rPr lang="en-ZA" sz="1400" baseline="0" dirty="0"/>
                        <a:t> guidelines, budget templates and model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Poor quality of budget input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Negative economic outlook of the country</a:t>
                      </a: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Harness culture of efficiency</a:t>
                      </a:r>
                      <a:r>
                        <a:rPr lang="en-ZA" sz="1400" baseline="0" dirty="0"/>
                        <a:t> and doing more with fewer resources</a:t>
                      </a: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74287">
                <a:tc>
                  <a:txBody>
                    <a:bodyPr/>
                    <a:lstStyle/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xpenditure Control and financial reporting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Spending plans, In Year</a:t>
                      </a:r>
                      <a:r>
                        <a:rPr lang="en-ZA" sz="1400" baseline="0" dirty="0"/>
                        <a:t> Monitoring, quarterly and annual financial statements</a:t>
                      </a:r>
                      <a:r>
                        <a:rPr lang="en-ZA" sz="1400" dirty="0"/>
                        <a:t>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Lack of monitoring of spending plans by some of the activity/program</a:t>
                      </a:r>
                      <a:r>
                        <a:rPr lang="en-ZA" sz="1400" baseline="0" dirty="0"/>
                        <a:t> managers/sub-program manager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1400" dirty="0"/>
                        <a:t>Program</a:t>
                      </a:r>
                      <a:r>
                        <a:rPr lang="en-ZA" sz="1400" baseline="0" dirty="0"/>
                        <a:t> and sub program managers to be held accountable</a:t>
                      </a: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197" y="209458"/>
            <a:ext cx="849795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urrent delivery method - FMA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85544663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785044641"/>
              </p:ext>
            </p:extLst>
          </p:nvPr>
        </p:nvGraphicFramePr>
        <p:xfrm>
          <a:off x="177801" y="1134533"/>
          <a:ext cx="8695266" cy="47548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12135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1175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605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016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536141">
                <a:tc>
                  <a:txBody>
                    <a:bodyPr/>
                    <a:lstStyle/>
                    <a:p>
                      <a:r>
                        <a:rPr lang="en-ZA" dirty="0"/>
                        <a:t>New</a:t>
                      </a:r>
                      <a:r>
                        <a:rPr lang="en-ZA" baseline="0" dirty="0"/>
                        <a:t> methods of work/proposed action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Target</a:t>
                      </a:r>
                      <a:r>
                        <a:rPr lang="en-ZA" baseline="0" dirty="0"/>
                        <a:t> date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Responsible Uni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Enabler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4887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Review the operating model to streamline spans and layers of operations and management in respect of budgeting, payments, accounting and reporting function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31</a:t>
                      </a:r>
                      <a:r>
                        <a:rPr lang="en-ZA" sz="1400" baseline="0" dirty="0"/>
                        <a:t> March 20</a:t>
                      </a:r>
                      <a:r>
                        <a:rPr lang="en-ZA" sz="1400" dirty="0"/>
                        <a:t>22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dirty="0"/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dirty="0"/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FMA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dirty="0"/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Management</a:t>
                      </a:r>
                      <a:r>
                        <a:rPr lang="en-ZA" sz="1400" baseline="0" dirty="0"/>
                        <a:t> support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baseline="0" dirty="0"/>
                    </a:p>
                    <a:p>
                      <a:pPr marL="0" marR="0" indent="0" algn="l" defTabSz="457200" rtl="0" eaLnBrk="1" fontAlgn="auto" latinLnBrk="0" hangingPunct="1">
                        <a:lnSpc>
                          <a:spcPct val="15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ZA" sz="1400" dirty="0"/>
                    </a:p>
                    <a:p>
                      <a:pPr>
                        <a:lnSpc>
                          <a:spcPct val="150000"/>
                        </a:lnSpc>
                      </a:pP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268112"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mplement appropriate costing methods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ork towards activity based budgeting and</a:t>
                      </a:r>
                      <a:r>
                        <a:rPr lang="en-ZA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erformance based budgeting 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31</a:t>
                      </a:r>
                      <a:r>
                        <a:rPr lang="en-ZA" sz="1400" baseline="0" dirty="0"/>
                        <a:t> March 20</a:t>
                      </a:r>
                      <a:r>
                        <a:rPr lang="en-ZA" sz="1400" dirty="0"/>
                        <a:t>21</a:t>
                      </a:r>
                      <a:r>
                        <a:rPr lang="en-ZA" sz="1400" baseline="0" dirty="0"/>
                        <a:t> 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FMA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Management</a:t>
                      </a:r>
                      <a:r>
                        <a:rPr lang="en-ZA" sz="1400" baseline="0" dirty="0"/>
                        <a:t> support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baseline="0" dirty="0"/>
                        <a:t>Training of finance officials and subprogramme and activity manager </a:t>
                      </a: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8112"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Establish trading entity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31</a:t>
                      </a:r>
                      <a:r>
                        <a:rPr lang="en-ZA" sz="1400" baseline="0" dirty="0"/>
                        <a:t> March 20</a:t>
                      </a:r>
                      <a:r>
                        <a:rPr lang="en-ZA" sz="1400" dirty="0"/>
                        <a:t>21</a:t>
                      </a:r>
                      <a:r>
                        <a:rPr lang="en-ZA" sz="1400" baseline="0" dirty="0"/>
                        <a:t> 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CFO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Management support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Capital investment 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dirty="0"/>
                        <a:t>Systems</a:t>
                      </a:r>
                      <a:r>
                        <a:rPr lang="en-ZA" sz="1400" baseline="0" dirty="0"/>
                        <a:t> </a:t>
                      </a:r>
                    </a:p>
                    <a:p>
                      <a:pPr>
                        <a:lnSpc>
                          <a:spcPct val="150000"/>
                        </a:lnSpc>
                      </a:pPr>
                      <a:r>
                        <a:rPr lang="en-ZA" sz="1400" baseline="0" dirty="0"/>
                        <a:t>Treasury approval </a:t>
                      </a: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Implementation plan- FMA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17698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524356714"/>
              </p:ext>
            </p:extLst>
          </p:nvPr>
        </p:nvGraphicFramePr>
        <p:xfrm>
          <a:off x="182880" y="965200"/>
          <a:ext cx="8770619" cy="4940609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1121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82923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82923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01391">
                <a:tc>
                  <a:txBody>
                    <a:bodyPr/>
                    <a:lstStyle/>
                    <a:p>
                      <a:r>
                        <a:rPr lang="en-ZA" dirty="0"/>
                        <a:t>What has been achieved in the past 5 years and what has worked wel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hat have</a:t>
                      </a:r>
                      <a:r>
                        <a:rPr lang="en-ZA" baseline="0" dirty="0"/>
                        <a:t> we failed to achieve in the past 5 years and why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hat need to be done differently</a:t>
                      </a:r>
                      <a:r>
                        <a:rPr lang="en-ZA" baseline="0" dirty="0"/>
                        <a:t> / change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93846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Implemented stricter cost containment measur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To retain staff and fill all</a:t>
                      </a:r>
                      <a:r>
                        <a:rPr lang="en-ZA" sz="1400" baseline="0" dirty="0"/>
                        <a:t> funded vacant posts</a:t>
                      </a:r>
                      <a:r>
                        <a:rPr lang="en-ZA" sz="1400" dirty="0"/>
                        <a:t> due to long turnaround time standards</a:t>
                      </a:r>
                      <a:r>
                        <a:rPr lang="en-ZA" sz="1400" baseline="0" dirty="0"/>
                        <a:t> in recruitment processes and high turnover of finance staff and soft </a:t>
                      </a:r>
                      <a:r>
                        <a:rPr lang="en-ZA" sz="1400" dirty="0"/>
                        <a:t>moratorium</a:t>
                      </a:r>
                      <a:r>
                        <a:rPr lang="en-ZA" sz="1400" baseline="0" dirty="0"/>
                        <a:t> on the filling of posts</a:t>
                      </a:r>
                      <a:endParaRPr lang="en-ZA" sz="1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Review the operating model to streamline spans and layers of operations and management in respect of budgeting, payments, accounting and reporting functions</a:t>
                      </a: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Emanating from above bullet, should there be vacancies, prioritise the filling of all critical funded posts</a:t>
                      </a:r>
                      <a:endParaRPr lang="en-ZA" sz="1400" dirty="0">
                        <a:highlight>
                          <a:srgbClr val="FFFF00"/>
                        </a:highlight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32363">
                <a:tc>
                  <a:txBody>
                    <a:bodyPr/>
                    <a:lstStyle/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/>
                        <a:t>On average achieved APP percentage spending target of 99.75%. 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indent="-285750" algn="l" defTabSz="457200" rtl="0" eaLnBrk="1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en-ZA" sz="1400" kern="120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In 2015/16 the department over spent the voted allocation and  incurred unauthorised expenditure.</a:t>
                      </a:r>
                      <a:r>
                        <a:rPr lang="en-ZA" sz="1400" kern="1200" baseline="0" noProof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Appropriate costing methods </a:t>
                      </a:r>
                    </a:p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ZA" sz="1400" kern="120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Work towards activity based budgeting and</a:t>
                      </a:r>
                      <a:r>
                        <a:rPr lang="en-ZA" sz="1400" kern="1200" baseline="0" dirty="0">
                          <a:solidFill>
                            <a:schemeClr val="dk1"/>
                          </a:solidFill>
                          <a:latin typeface="+mn-lt"/>
                          <a:ea typeface="+mn-ea"/>
                          <a:cs typeface="+mn-cs"/>
                        </a:rPr>
                        <a:t> performance based budgeting </a:t>
                      </a:r>
                      <a:endParaRPr lang="en-ZA" sz="1400" kern="1200" dirty="0">
                        <a:solidFill>
                          <a:schemeClr val="dk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285750" indent="-285750">
                        <a:buFont typeface="Arial" panose="020B0604020202020204" pitchFamily="34" charset="0"/>
                        <a:buChar char="•"/>
                      </a:pPr>
                      <a:endParaRPr lang="en-ZA" sz="1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Historical performance – FMA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0524596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09488"/>
            <a:ext cx="8229600" cy="4692598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US" sz="2400" b="1" dirty="0">
                <a:solidFill>
                  <a:prstClr val="black"/>
                </a:solidFill>
                <a:cs typeface="Arial" panose="020B0604020202020204" pitchFamily="34" charset="0"/>
              </a:rPr>
              <a:t>Internal Control and Compliance </a:t>
            </a:r>
          </a:p>
          <a:p>
            <a:pPr marL="0" indent="0">
              <a:buNone/>
            </a:pPr>
            <a:endParaRPr lang="en-US" sz="2400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2200" dirty="0">
                <a:solidFill>
                  <a:prstClr val="black"/>
                </a:solidFill>
                <a:cs typeface="Arial" panose="020B0604020202020204" pitchFamily="34" charset="0"/>
              </a:rPr>
              <a:t>Poor Internal Controls within the Department.</a:t>
            </a:r>
          </a:p>
          <a:p>
            <a:pPr>
              <a:buFont typeface="Wingdings" pitchFamily="2" charset="2"/>
              <a:buChar char="q"/>
            </a:pPr>
            <a:r>
              <a:rPr lang="en-US" sz="2200" dirty="0">
                <a:solidFill>
                  <a:prstClr val="black"/>
                </a:solidFill>
                <a:cs typeface="Arial" panose="020B0604020202020204" pitchFamily="34" charset="0"/>
              </a:rPr>
              <a:t>Ineffective and inefficient governance structures and Processes.</a:t>
            </a:r>
          </a:p>
          <a:p>
            <a:pPr>
              <a:buFont typeface="Wingdings" pitchFamily="2" charset="2"/>
              <a:buChar char="q"/>
            </a:pPr>
            <a:r>
              <a:rPr lang="en-US" sz="2200" dirty="0">
                <a:solidFill>
                  <a:prstClr val="black"/>
                </a:solidFill>
                <a:cs typeface="Arial" panose="020B0604020202020204" pitchFamily="34" charset="0"/>
              </a:rPr>
              <a:t>Lack of improvement on audit outcomes.</a:t>
            </a:r>
          </a:p>
          <a:p>
            <a:pPr>
              <a:buFont typeface="Wingdings" pitchFamily="2" charset="2"/>
              <a:buChar char="q"/>
            </a:pPr>
            <a:r>
              <a:rPr lang="en-US" sz="2200" dirty="0">
                <a:solidFill>
                  <a:prstClr val="black"/>
                </a:solidFill>
                <a:cs typeface="Arial" panose="020B0604020202020204" pitchFamily="34" charset="0"/>
              </a:rPr>
              <a:t>Low risk management maturity level within the department.</a:t>
            </a:r>
          </a:p>
          <a:p>
            <a:pPr marL="0" indent="0">
              <a:buNone/>
            </a:pPr>
            <a:endParaRPr 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2400" b="1" dirty="0">
                <a:cs typeface="Arial" panose="020B0604020202020204" pitchFamily="34" charset="0"/>
              </a:rPr>
              <a:t>Supply Chain Management</a:t>
            </a:r>
          </a:p>
          <a:p>
            <a:pPr marL="0" indent="0">
              <a:buNone/>
            </a:pPr>
            <a:endParaRPr lang="en-US" sz="24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2200" dirty="0">
                <a:solidFill>
                  <a:prstClr val="black"/>
                </a:solidFill>
                <a:cs typeface="Arial" panose="020B0604020202020204" pitchFamily="34" charset="0"/>
              </a:rPr>
              <a:t>Persistent irregularities due to reliance on implementing agencies</a:t>
            </a:r>
          </a:p>
          <a:p>
            <a:pPr>
              <a:buFont typeface="Wingdings" pitchFamily="2" charset="2"/>
              <a:buChar char="q"/>
            </a:pPr>
            <a:r>
              <a:rPr lang="en-US" sz="2200" dirty="0">
                <a:solidFill>
                  <a:prstClr val="black"/>
                </a:solidFill>
                <a:cs typeface="Arial" panose="020B0604020202020204" pitchFamily="34" charset="0"/>
              </a:rPr>
              <a:t>Poor planning  (demand management)  </a:t>
            </a:r>
          </a:p>
          <a:p>
            <a:pPr>
              <a:buFont typeface="Wingdings" pitchFamily="2" charset="2"/>
              <a:buChar char="q"/>
            </a:pPr>
            <a:r>
              <a:rPr lang="en-US" sz="2200" dirty="0">
                <a:solidFill>
                  <a:prstClr val="black"/>
                </a:solidFill>
                <a:cs typeface="Arial" panose="020B0604020202020204" pitchFamily="34" charset="0"/>
              </a:rPr>
              <a:t>Negative audit outcome due to non compliance to procurement processes</a:t>
            </a:r>
          </a:p>
          <a:p>
            <a:pPr>
              <a:buFont typeface="Wingdings" pitchFamily="2" charset="2"/>
              <a:buChar char="q"/>
            </a:pPr>
            <a:r>
              <a:rPr lang="en-US" sz="2200" dirty="0">
                <a:solidFill>
                  <a:prstClr val="black"/>
                </a:solidFill>
                <a:cs typeface="Arial" panose="020B0604020202020204" pitchFamily="34" charset="0"/>
              </a:rPr>
              <a:t>Lack of systems to monitor empowerment of SMME and Cooperatives.</a:t>
            </a:r>
          </a:p>
          <a:p>
            <a:pPr>
              <a:buFont typeface="Wingdings" pitchFamily="2" charset="2"/>
              <a:buChar char="q"/>
            </a:pPr>
            <a:r>
              <a:rPr lang="en-US" sz="2200" dirty="0">
                <a:solidFill>
                  <a:prstClr val="black"/>
                </a:solidFill>
                <a:cs typeface="Arial" panose="020B0604020202020204" pitchFamily="34" charset="0"/>
              </a:rPr>
              <a:t>SCM in totality is not fully represented within the Department e.g. no management of contracts at regional level.</a:t>
            </a:r>
          </a:p>
          <a:p>
            <a:pPr>
              <a:buFont typeface="Wingdings" pitchFamily="2" charset="2"/>
              <a:buChar char="q"/>
            </a:pPr>
            <a:r>
              <a:rPr lang="en-US" sz="2200" dirty="0">
                <a:solidFill>
                  <a:prstClr val="black"/>
                </a:solidFill>
                <a:cs typeface="Arial" panose="020B0604020202020204" pitchFamily="34" charset="0"/>
              </a:rPr>
              <a:t>Poor record keeping of documents make it impossible for AGSA</a:t>
            </a:r>
          </a:p>
          <a:p>
            <a:endParaRPr lang="en-US" sz="2400" dirty="0">
              <a:solidFill>
                <a:prstClr val="black"/>
              </a:solidFill>
              <a:ea typeface="+mj-ea"/>
              <a:cs typeface="+mj-cs"/>
            </a:endParaRPr>
          </a:p>
          <a:p>
            <a:pPr marL="0" indent="0">
              <a:buNone/>
            </a:pPr>
            <a:r>
              <a:rPr lang="en-US" sz="2400" b="1" dirty="0">
                <a:solidFill>
                  <a:prstClr val="black"/>
                </a:solidFill>
                <a:cs typeface="Arial" panose="020B0604020202020204" pitchFamily="34" charset="0"/>
              </a:rPr>
              <a:t>Financial and Management  Accounting </a:t>
            </a:r>
          </a:p>
          <a:p>
            <a:pPr marL="0" indent="0">
              <a:buNone/>
            </a:pPr>
            <a:endParaRPr lang="en-US" sz="2400" b="1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2200" dirty="0">
                <a:solidFill>
                  <a:prstClr val="black"/>
                </a:solidFill>
                <a:cs typeface="Arial" panose="020B0604020202020204" pitchFamily="34" charset="0"/>
              </a:rPr>
              <a:t>Budget Cuts</a:t>
            </a:r>
          </a:p>
          <a:p>
            <a:pPr marL="342900" lvl="1" indent="-342900">
              <a:buFont typeface="Wingdings" pitchFamily="2" charset="2"/>
              <a:buChar char="q"/>
            </a:pPr>
            <a:r>
              <a:rPr lang="en-US" sz="2200" dirty="0">
                <a:solidFill>
                  <a:prstClr val="black"/>
                </a:solidFill>
                <a:cs typeface="Arial" panose="020B0604020202020204" pitchFamily="34" charset="0"/>
              </a:rPr>
              <a:t>Uncertainty in future budget allocation due to sluggish economy and national revenue shortfalls 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ontextual issu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1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68372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771924"/>
            <a:ext cx="8229600" cy="5103421"/>
          </a:xfrm>
        </p:spPr>
        <p:txBody>
          <a:bodyPr>
            <a:normAutofit fontScale="77500" lnSpcReduction="20000"/>
          </a:bodyPr>
          <a:lstStyle/>
          <a:p>
            <a:endParaRPr lang="en-ZA" dirty="0"/>
          </a:p>
          <a:p>
            <a:r>
              <a:rPr lang="en-ZA" dirty="0"/>
              <a:t>Composition of Branch Finance</a:t>
            </a:r>
          </a:p>
          <a:p>
            <a:r>
              <a:rPr lang="en-ZA" dirty="0"/>
              <a:t>Summary of the outcomes of the 2018 Strategic Planning Session</a:t>
            </a:r>
          </a:p>
          <a:p>
            <a:r>
              <a:rPr lang="en-ZA" dirty="0"/>
              <a:t>Current service delivery method (SDM)</a:t>
            </a:r>
          </a:p>
          <a:p>
            <a:r>
              <a:rPr lang="en-ZA" dirty="0"/>
              <a:t>Contextual issues considered in the planning</a:t>
            </a:r>
          </a:p>
          <a:p>
            <a:r>
              <a:rPr lang="en-ZA" dirty="0"/>
              <a:t>Internal and external environmental analysis </a:t>
            </a:r>
          </a:p>
          <a:p>
            <a:r>
              <a:rPr lang="en-ZA" dirty="0"/>
              <a:t>Historical performance </a:t>
            </a:r>
          </a:p>
          <a:p>
            <a:r>
              <a:rPr lang="en-ZA" dirty="0"/>
              <a:t>Changes required for the new cycle</a:t>
            </a:r>
          </a:p>
          <a:p>
            <a:r>
              <a:rPr lang="en-ZA" dirty="0"/>
              <a:t>Five Year Plan (2020-2025)</a:t>
            </a:r>
          </a:p>
          <a:p>
            <a:r>
              <a:rPr lang="en-ZA" dirty="0"/>
              <a:t>Resource considerations</a:t>
            </a:r>
          </a:p>
          <a:p>
            <a:r>
              <a:rPr lang="en-ZA" dirty="0"/>
              <a:t>Dependencies</a:t>
            </a:r>
          </a:p>
          <a:p>
            <a:r>
              <a:rPr lang="en-ZA" dirty="0"/>
              <a:t>Strategic risks</a:t>
            </a:r>
            <a:fld id="{0C6A943E-3772-405D-A75D-F6C6C0B6C7AF}" type="slidenum">
              <a:rPr lang="en-ZA" smtClean="0"/>
              <a:t>2</a:t>
            </a:fld>
            <a:fld id="{F41AB701-A1F8-4913-9AB9-8E4BAEF672D1}" type="slidenum">
              <a:rPr lang="en-ZA" smtClean="0"/>
              <a:t>2</a:t>
            </a:fld>
            <a:endParaRPr lang="en-ZA" dirty="0"/>
          </a:p>
          <a:p>
            <a:endParaRPr lang="en-ZA" dirty="0"/>
          </a:p>
          <a:p>
            <a:endParaRPr lang="en-ZA" dirty="0"/>
          </a:p>
          <a:p>
            <a:endParaRPr lang="en-ZA" dirty="0"/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3600" b="1" dirty="0">
                <a:solidFill>
                  <a:srgbClr val="00B050"/>
                </a:solidFill>
              </a:rPr>
              <a:t>Presentation outline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825510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109487"/>
            <a:ext cx="8229600" cy="4583741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endParaRPr lang="en-US" sz="24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900" b="1" dirty="0">
                <a:cs typeface="Arial" panose="020B0604020202020204" pitchFamily="34" charset="0"/>
              </a:rPr>
              <a:t>Priorities of the Minister and Deputy Minister and </a:t>
            </a:r>
            <a:r>
              <a:rPr lang="en-ZA" sz="1900" b="1" dirty="0">
                <a:cs typeface="Arial" panose="020B0604020202020204" pitchFamily="34" charset="0"/>
              </a:rPr>
              <a:t>Priority 6: A Capable, Ethical and Developmental State</a:t>
            </a:r>
          </a:p>
          <a:p>
            <a:pPr>
              <a:buFont typeface="Wingdings" pitchFamily="2" charset="2"/>
              <a:buChar char="q"/>
            </a:pPr>
            <a:r>
              <a:rPr lang="en-US" sz="1600" dirty="0">
                <a:cs typeface="Arial" panose="020B0604020202020204" pitchFamily="34" charset="0"/>
              </a:rPr>
              <a:t>Strengthening of internal controls and risk management systems to achieve clean governance and administration </a:t>
            </a:r>
          </a:p>
          <a:p>
            <a:pPr marL="0" indent="0">
              <a:buNone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indent="0">
              <a:buNone/>
            </a:pPr>
            <a:r>
              <a:rPr lang="en-US" sz="1900" b="1" dirty="0">
                <a:cs typeface="Arial" panose="020B0604020202020204" pitchFamily="34" charset="0"/>
              </a:rPr>
              <a:t>These are incorporated into Operational Plans as follows:-</a:t>
            </a:r>
          </a:p>
          <a:p>
            <a:pPr>
              <a:buFont typeface="Wingdings" pitchFamily="2" charset="2"/>
              <a:buChar char="q"/>
            </a:pPr>
            <a:r>
              <a:rPr lang="en-US" sz="1600" dirty="0">
                <a:cs typeface="Arial" panose="020B0604020202020204" pitchFamily="34" charset="0"/>
              </a:rPr>
              <a:t>Capacitation of Internal Control and Compliance function through appointment of Internal Control,  Loss Management and Inspectorate resources. </a:t>
            </a:r>
          </a:p>
          <a:p>
            <a:pPr>
              <a:buFont typeface="Wingdings" pitchFamily="2" charset="2"/>
              <a:buChar char="q"/>
            </a:pPr>
            <a:endParaRPr lang="en-US" sz="1600" dirty="0"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1600" dirty="0">
                <a:cs typeface="Arial" panose="020B0604020202020204" pitchFamily="34" charset="0"/>
              </a:rPr>
              <a:t>Development of Internal Control frameworks.</a:t>
            </a:r>
          </a:p>
          <a:p>
            <a:pPr>
              <a:buFont typeface="Wingdings" pitchFamily="2" charset="2"/>
              <a:buChar char="q"/>
            </a:pPr>
            <a:endParaRPr lang="en-US" sz="1600" dirty="0"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1600" dirty="0">
                <a:cs typeface="Arial" panose="020B0604020202020204" pitchFamily="34" charset="0"/>
              </a:rPr>
              <a:t>Realignment of processes to ensure responsiveness and value-add.</a:t>
            </a:r>
          </a:p>
          <a:p>
            <a:pPr>
              <a:buFont typeface="Wingdings" pitchFamily="2" charset="2"/>
              <a:buChar char="q"/>
            </a:pPr>
            <a:endParaRPr lang="en-US" sz="1600" dirty="0">
              <a:cs typeface="Arial" panose="020B0604020202020204" pitchFamily="34" charset="0"/>
            </a:endParaRPr>
          </a:p>
          <a:p>
            <a:pPr>
              <a:buFont typeface="Wingdings" pitchFamily="2" charset="2"/>
              <a:buChar char="q"/>
            </a:pPr>
            <a:r>
              <a:rPr lang="en-US" sz="1600" dirty="0">
                <a:cs typeface="Arial" panose="020B0604020202020204" pitchFamily="34" charset="0"/>
              </a:rPr>
              <a:t>Prioritization of internal control work activities by following risk-based approach.</a:t>
            </a:r>
          </a:p>
          <a:p>
            <a:endParaRPr lang="en-US" sz="2400" dirty="0">
              <a:solidFill>
                <a:prstClr val="black"/>
              </a:solidFill>
              <a:ea typeface="+mj-ea"/>
              <a:cs typeface="+mj-cs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ontextual issues..(Cont.)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33887720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idx="1"/>
          </p:nvPr>
        </p:nvSpPr>
        <p:spPr>
          <a:xfrm>
            <a:off x="254000" y="889000"/>
            <a:ext cx="8432800" cy="5048983"/>
          </a:xfrm>
        </p:spPr>
        <p:txBody>
          <a:bodyPr>
            <a:noAutofit/>
          </a:bodyPr>
          <a:lstStyle/>
          <a:p>
            <a:pPr lvl="1">
              <a:buFont typeface="Wingdings" pitchFamily="2" charset="2"/>
              <a:buChar char="q"/>
            </a:pPr>
            <a:endParaRPr lang="en-US" sz="1400" dirty="0"/>
          </a:p>
          <a:p>
            <a:pPr lvl="1">
              <a:lnSpc>
                <a:spcPct val="150000"/>
              </a:lnSpc>
              <a:buFont typeface="Wingdings" pitchFamily="2" charset="2"/>
              <a:buChar char="q"/>
            </a:pPr>
            <a:r>
              <a:rPr lang="en-ZA" sz="1600" dirty="0">
                <a:cs typeface="Arial" panose="020B0604020202020204" pitchFamily="34" charset="0"/>
              </a:rPr>
              <a:t>Unclear and constantly changing regulatory environment negatively impacting on levels of compliance </a:t>
            </a:r>
          </a:p>
          <a:p>
            <a:pPr lvl="1">
              <a:lnSpc>
                <a:spcPct val="150000"/>
              </a:lnSpc>
              <a:buFont typeface="Wingdings" pitchFamily="2" charset="2"/>
              <a:buChar char="q"/>
            </a:pPr>
            <a:endParaRPr lang="en-ZA" sz="1600" dirty="0">
              <a:cs typeface="Arial" panose="020B0604020202020204" pitchFamily="34" charset="0"/>
            </a:endParaRPr>
          </a:p>
          <a:p>
            <a:pPr lvl="1">
              <a:lnSpc>
                <a:spcPct val="150000"/>
              </a:lnSpc>
              <a:buFont typeface="Wingdings" pitchFamily="2" charset="2"/>
              <a:buChar char="q"/>
            </a:pPr>
            <a:r>
              <a:rPr lang="en-ZA" sz="1600" dirty="0">
                <a:cs typeface="Arial" panose="020B0604020202020204" pitchFamily="34" charset="0"/>
              </a:rPr>
              <a:t>Reduced </a:t>
            </a:r>
            <a:r>
              <a:rPr lang="en-ZA" sz="1600" dirty="0" err="1">
                <a:cs typeface="Arial" panose="020B0604020202020204" pitchFamily="34" charset="0"/>
              </a:rPr>
              <a:t>fiscus</a:t>
            </a:r>
            <a:r>
              <a:rPr lang="en-ZA" sz="1600" dirty="0">
                <a:cs typeface="Arial" panose="020B0604020202020204" pitchFamily="34" charset="0"/>
              </a:rPr>
              <a:t> resulting in insufficient budget allocations for programmes and projects </a:t>
            </a:r>
          </a:p>
          <a:p>
            <a:pPr lvl="1">
              <a:lnSpc>
                <a:spcPct val="150000"/>
              </a:lnSpc>
              <a:buFont typeface="Wingdings" pitchFamily="2" charset="2"/>
              <a:buChar char="q"/>
            </a:pPr>
            <a:endParaRPr lang="en-ZA" sz="1600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lvl="1">
              <a:lnSpc>
                <a:spcPct val="150000"/>
              </a:lnSpc>
              <a:buFont typeface="Wingdings" pitchFamily="2" charset="2"/>
              <a:buChar char="q"/>
            </a:pPr>
            <a:r>
              <a:rPr lang="en-ZA" sz="1600" dirty="0">
                <a:solidFill>
                  <a:prstClr val="black"/>
                </a:solidFill>
                <a:cs typeface="Arial" panose="020B0604020202020204" pitchFamily="34" charset="0"/>
              </a:rPr>
              <a:t>Increased litigations, fraud and corrupt activities </a:t>
            </a:r>
            <a:endParaRPr lang="en-ZA" sz="1600" b="1" dirty="0">
              <a:solidFill>
                <a:prstClr val="black"/>
              </a:solidFill>
              <a:cs typeface="Arial" panose="020B0604020202020204" pitchFamily="34" charset="0"/>
            </a:endParaRPr>
          </a:p>
          <a:p>
            <a:pPr lvl="1">
              <a:lnSpc>
                <a:spcPct val="150000"/>
              </a:lnSpc>
              <a:buFont typeface="Wingdings" pitchFamily="2" charset="2"/>
              <a:buChar char="q"/>
            </a:pPr>
            <a:endParaRPr lang="en-US" sz="1600" dirty="0">
              <a:cs typeface="Arial" panose="020B0604020202020204" pitchFamily="34" charset="0"/>
            </a:endParaRPr>
          </a:p>
          <a:p>
            <a:pPr lvl="1">
              <a:lnSpc>
                <a:spcPct val="150000"/>
              </a:lnSpc>
              <a:buFont typeface="Wingdings" pitchFamily="2" charset="2"/>
              <a:buChar char="q"/>
            </a:pPr>
            <a:r>
              <a:rPr lang="en-US" sz="1600" dirty="0">
                <a:cs typeface="Arial" panose="020B0604020202020204" pitchFamily="34" charset="0"/>
              </a:rPr>
              <a:t>Financial viability  of suppliers which leads to non delivery of  goods and services.</a:t>
            </a:r>
          </a:p>
          <a:p>
            <a:pPr lvl="1">
              <a:lnSpc>
                <a:spcPct val="150000"/>
              </a:lnSpc>
              <a:buFont typeface="Wingdings" pitchFamily="2" charset="2"/>
              <a:buChar char="q"/>
            </a:pPr>
            <a:endParaRPr lang="en-US" sz="1600" dirty="0">
              <a:cs typeface="Arial" panose="020B0604020202020204" pitchFamily="34" charset="0"/>
            </a:endParaRPr>
          </a:p>
          <a:p>
            <a:pPr lvl="1"/>
            <a:endParaRPr lang="en-ZA" sz="1600" dirty="0">
              <a:highlight>
                <a:srgbClr val="FFFF00"/>
              </a:highlight>
            </a:endParaRPr>
          </a:p>
          <a:p>
            <a:pPr lvl="1"/>
            <a:endParaRPr lang="en-US" sz="1600" dirty="0"/>
          </a:p>
          <a:p>
            <a:pPr marL="457200" lvl="1" indent="0">
              <a:buNone/>
            </a:pPr>
            <a:br>
              <a:rPr lang="en-US" sz="2000" dirty="0"/>
            </a:br>
            <a:endParaRPr lang="en-US" sz="2000" dirty="0">
              <a:solidFill>
                <a:srgbClr val="FF0000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Environmental analysi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2270932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5 Year Strategic Plan - Results Chain  </a:t>
            </a:r>
          </a:p>
        </p:txBody>
      </p:sp>
      <p:graphicFrame>
        <p:nvGraphicFramePr>
          <p:cNvPr id="5" name="Diagram 4"/>
          <p:cNvGraphicFramePr/>
          <p:nvPr>
            <p:extLst>
              <p:ext uri="{D42A27DB-BD31-4B8C-83A1-F6EECF244321}">
                <p14:modId xmlns:p14="http://schemas.microsoft.com/office/powerpoint/2010/main" val="4123753545"/>
              </p:ext>
            </p:extLst>
          </p:nvPr>
        </p:nvGraphicFramePr>
        <p:xfrm>
          <a:off x="0" y="1125725"/>
          <a:ext cx="6629400" cy="57195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Diagram 5"/>
          <p:cNvGraphicFramePr/>
          <p:nvPr>
            <p:extLst>
              <p:ext uri="{D42A27DB-BD31-4B8C-83A1-F6EECF244321}">
                <p14:modId xmlns:p14="http://schemas.microsoft.com/office/powerpoint/2010/main" val="2803992891"/>
              </p:ext>
            </p:extLst>
          </p:nvPr>
        </p:nvGraphicFramePr>
        <p:xfrm>
          <a:off x="0" y="1138425"/>
          <a:ext cx="9144000" cy="40815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sp>
        <p:nvSpPr>
          <p:cNvPr id="8" name="Flowchart: Alternate Process 7"/>
          <p:cNvSpPr/>
          <p:nvPr/>
        </p:nvSpPr>
        <p:spPr>
          <a:xfrm>
            <a:off x="2680570" y="5849981"/>
            <a:ext cx="2761380" cy="688931"/>
          </a:xfrm>
          <a:prstGeom prst="flowChartAlternateProcess">
            <a:avLst/>
          </a:prstGeom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ZA" dirty="0">
                <a:solidFill>
                  <a:schemeClr val="tx1"/>
                </a:solidFill>
              </a:rPr>
              <a:t>Target: 5% improvement in organizational performance (average)</a:t>
            </a:r>
          </a:p>
        </p:txBody>
      </p:sp>
      <p:grpSp>
        <p:nvGrpSpPr>
          <p:cNvPr id="9" name="Group 8"/>
          <p:cNvGrpSpPr/>
          <p:nvPr/>
        </p:nvGrpSpPr>
        <p:grpSpPr>
          <a:xfrm>
            <a:off x="7039082" y="2380891"/>
            <a:ext cx="1742683" cy="3364301"/>
            <a:chOff x="4883114" y="1210433"/>
            <a:chExt cx="1742683" cy="1584003"/>
          </a:xfrm>
        </p:grpSpPr>
        <p:sp>
          <p:nvSpPr>
            <p:cNvPr id="10" name="Rounded Rectangle 9"/>
            <p:cNvSpPr/>
            <p:nvPr/>
          </p:nvSpPr>
          <p:spPr>
            <a:xfrm>
              <a:off x="4883114" y="1210433"/>
              <a:ext cx="1742683" cy="1584003"/>
            </a:xfrm>
            <a:prstGeom prst="roundRect">
              <a:avLst>
                <a:gd name="adj" fmla="val 10000"/>
              </a:avLst>
            </a:prstGeom>
          </p:spPr>
          <p:style>
            <a:lnRef idx="3">
              <a:schemeClr val="accent3">
                <a:shade val="80000"/>
                <a:hueOff val="0"/>
                <a:satOff val="0"/>
                <a:lumOff val="0"/>
                <a:alphaOff val="0"/>
              </a:schemeClr>
            </a:lnRef>
            <a:fillRef idx="1">
              <a:schemeClr val="lt1">
                <a:hueOff val="0"/>
                <a:satOff val="0"/>
                <a:lumOff val="0"/>
                <a:alphaOff val="0"/>
              </a:schemeClr>
            </a:fillRef>
            <a:effectRef idx="1">
              <a:schemeClr val="lt1">
                <a:hueOff val="0"/>
                <a:satOff val="0"/>
                <a:lumOff val="0"/>
                <a:alphaOff val="0"/>
              </a:schemeClr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</p:sp>
        <p:sp>
          <p:nvSpPr>
            <p:cNvPr id="11" name="Rounded Rectangle 4"/>
            <p:cNvSpPr/>
            <p:nvPr/>
          </p:nvSpPr>
          <p:spPr>
            <a:xfrm>
              <a:off x="4929508" y="1256827"/>
              <a:ext cx="1649895" cy="1491215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dk1">
                <a:hueOff val="0"/>
                <a:satOff val="0"/>
                <a:lumOff val="0"/>
                <a:alphaOff val="0"/>
              </a:schemeClr>
            </a:fontRef>
          </p:style>
          <p:txBody>
            <a:bodyPr spcFirstLastPara="0" vert="horz" wrap="square" lIns="6985" tIns="6985" rIns="6985" bIns="6985" numCol="1" spcCol="1270" anchor="ctr" anchorCtr="0">
              <a:noAutofit/>
            </a:bodyPr>
            <a:lstStyle/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ZA" sz="16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99.75% of allocated budget spent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ZA" sz="1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ZA" sz="16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Increase revenue generation</a:t>
              </a: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en-ZA" sz="1600" dirty="0">
                <a:latin typeface="Arial Unicode MS" panose="020B0604020202020204" pitchFamily="34" charset="-128"/>
                <a:ea typeface="Arial Unicode MS" panose="020B0604020202020204" pitchFamily="34" charset="-128"/>
                <a:cs typeface="Arial Unicode MS" panose="020B0604020202020204" pitchFamily="34" charset="-128"/>
              </a:endParaRPr>
            </a:p>
            <a:p>
              <a:pPr lvl="0" algn="ctr" defTabSz="488950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r>
                <a:rPr lang="en-ZA" sz="1600" dirty="0">
                  <a:latin typeface="Arial Unicode MS" panose="020B0604020202020204" pitchFamily="34" charset="-128"/>
                  <a:ea typeface="Arial Unicode MS" panose="020B0604020202020204" pitchFamily="34" charset="-128"/>
                  <a:cs typeface="Arial Unicode MS" panose="020B0604020202020204" pitchFamily="34" charset="-128"/>
                </a:rPr>
                <a:t>Clean audit outcomes </a:t>
              </a:r>
            </a:p>
          </p:txBody>
        </p:sp>
      </p:grp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38298201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38875422"/>
              </p:ext>
            </p:extLst>
          </p:nvPr>
        </p:nvGraphicFramePr>
        <p:xfrm>
          <a:off x="205408" y="1519167"/>
          <a:ext cx="8532192" cy="2183966"/>
        </p:xfrm>
        <a:graphic>
          <a:graphicData uri="http://schemas.openxmlformats.org/drawingml/2006/table">
            <a:tbl>
              <a:tblPr firstRow="1" firstCol="1" bandRow="1"/>
              <a:tblGrid>
                <a:gridCol w="61133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012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09012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976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9012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090128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794967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08266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686701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  <a:gridCol w="143033">
                  <a:extLst>
                    <a:ext uri="{9D8B030D-6E8A-4147-A177-3AD203B41FA5}">
                      <a16:colId xmlns:a16="http://schemas.microsoft.com/office/drawing/2014/main" val="20009"/>
                    </a:ext>
                  </a:extLst>
                </a:gridCol>
                <a:gridCol w="829733">
                  <a:extLst>
                    <a:ext uri="{9D8B030D-6E8A-4147-A177-3AD203B41FA5}">
                      <a16:colId xmlns:a16="http://schemas.microsoft.com/office/drawing/2014/main" val="20010"/>
                    </a:ext>
                  </a:extLst>
                </a:gridCol>
              </a:tblGrid>
              <a:tr h="170416"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No.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row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utput Indicator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9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nnual Targets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1446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3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Audited/ Actual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Estimated Performance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MTEF Period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75181"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6/17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7/18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8/19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19/20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20/21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21/22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1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2022/23</a:t>
                      </a:r>
                      <a:endParaRPr lang="en-ZA" sz="11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5919">
                <a:tc gridSpan="1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b="1" dirty="0">
                          <a:solidFill>
                            <a:schemeClr val="tx1"/>
                          </a:solidFill>
                          <a:effectLst/>
                          <a:latin typeface="Calibri"/>
                          <a:ea typeface="Calibri"/>
                          <a:cs typeface="Times New Roman"/>
                        </a:rPr>
                        <a:t>Outcome 1.1: </a:t>
                      </a:r>
                      <a:endParaRPr lang="en-ZA" sz="1200" dirty="0">
                        <a:solidFill>
                          <a:schemeClr val="tx1"/>
                        </a:solidFill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CFF33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85387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20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1.1.1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5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 Zero audit qualification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5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 One audit qualification on capital work-in progress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5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 One audit qualification</a:t>
                      </a:r>
                      <a:r>
                        <a:rPr lang="en-ZA" sz="1050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on contractual commitments</a:t>
                      </a:r>
                      <a:endParaRPr lang="en-ZA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5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 Two audit qualifications on Commitments and Irregular Expenditure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5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 Zero audit qualificatio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5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Zero audit qualificatio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5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Zero audit qualification</a:t>
                      </a: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ZA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ZA" sz="105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Clean</a:t>
                      </a:r>
                      <a:r>
                        <a:rPr lang="en-ZA" sz="1050" baseline="0" dirty="0">
                          <a:effectLst/>
                          <a:latin typeface="Calibri"/>
                          <a:ea typeface="Calibri"/>
                          <a:cs typeface="Times New Roman"/>
                        </a:rPr>
                        <a:t> audit </a:t>
                      </a:r>
                      <a:endParaRPr lang="en-ZA" sz="105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33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5" name="Rectangle 1"/>
          <p:cNvSpPr>
            <a:spLocks noChangeArrowheads="1"/>
          </p:cNvSpPr>
          <p:nvPr/>
        </p:nvSpPr>
        <p:spPr bwMode="auto">
          <a:xfrm>
            <a:off x="114490" y="974368"/>
            <a:ext cx="4395114" cy="4847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tabLst/>
            </a:pPr>
            <a:r>
              <a:rPr lang="en-ZA" altLang="en-US" sz="2550" b="1" spc="-5" dirty="0">
                <a:solidFill>
                  <a:prstClr val="black"/>
                </a:solidFill>
                <a:cs typeface="Calibri"/>
              </a:rPr>
              <a:t>Outputs, Indicators and Targets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2020/21 Annual Performance Plan 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3</a:t>
            </a:fld>
            <a:endParaRPr lang="en-US" dirty="0"/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5408" y="3962400"/>
            <a:ext cx="8532192" cy="165999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17629624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4778" y="709964"/>
            <a:ext cx="8229600" cy="5229213"/>
          </a:xfrm>
        </p:spPr>
        <p:txBody>
          <a:bodyPr>
            <a:normAutofit fontScale="62500" lnSpcReduction="20000"/>
          </a:bodyPr>
          <a:lstStyle/>
          <a:p>
            <a:pPr marL="0" indent="0">
              <a:buNone/>
            </a:pPr>
            <a:r>
              <a:rPr lang="en-ZA" dirty="0"/>
              <a:t>  </a:t>
            </a:r>
          </a:p>
          <a:p>
            <a:pPr marL="342900" lvl="1" indent="-342900">
              <a:buFont typeface="Wingdings" pitchFamily="2" charset="2"/>
              <a:buChar char="q"/>
            </a:pPr>
            <a:r>
              <a:rPr lang="en-ZA" sz="2900" dirty="0"/>
              <a:t>Looming budget cuts over the 2020 MTEF, which may result in the following:</a:t>
            </a:r>
          </a:p>
          <a:p>
            <a:pPr marL="0" lvl="1" indent="0">
              <a:buNone/>
            </a:pPr>
            <a:endParaRPr lang="en-ZA" sz="2900" dirty="0"/>
          </a:p>
          <a:p>
            <a:pPr marL="985838" lvl="1" indent="-269875">
              <a:buFont typeface="Wingdings" panose="05000000000000000000" pitchFamily="2" charset="2"/>
              <a:buChar char="§"/>
            </a:pPr>
            <a:r>
              <a:rPr lang="en-ZA" sz="2900" i="1" dirty="0"/>
              <a:t>Reduced staff  numbers / Reorganisation/restructuring / Reduction of inmate population /Policy and legislative review (such as minimum sentencing) / Better integration within JCPS Cluster (affordability of bail amounts by RDs – option / Efficiency gains in the operations of the department  </a:t>
            </a:r>
            <a:endParaRPr lang="en-ZA" sz="2900" dirty="0">
              <a:cs typeface="Arial" panose="020B0604020202020204" pitchFamily="34" charset="0"/>
            </a:endParaRP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ZA" sz="2900" dirty="0">
                <a:cs typeface="Arial" panose="020B0604020202020204" pitchFamily="34" charset="0"/>
              </a:rPr>
              <a:t>Reorganize Assurance Services to maximize assurance value, optimize operational efficiency.</a:t>
            </a:r>
          </a:p>
          <a:p>
            <a:pPr>
              <a:lnSpc>
                <a:spcPct val="150000"/>
              </a:lnSpc>
              <a:buFont typeface="Wingdings" pitchFamily="2" charset="2"/>
              <a:buChar char="q"/>
            </a:pPr>
            <a:r>
              <a:rPr lang="en-ZA" sz="2900" dirty="0">
                <a:cs typeface="Arial" panose="020B0604020202020204" pitchFamily="34" charset="0"/>
              </a:rPr>
              <a:t>Conduct skills audit and re-assign/re-deploy resources based on outcomes to improve organizational efficiency and effectiveness. </a:t>
            </a:r>
          </a:p>
          <a:p>
            <a:pPr>
              <a:buFont typeface="Wingdings" pitchFamily="2" charset="2"/>
              <a:buChar char="q"/>
            </a:pPr>
            <a:r>
              <a:rPr lang="en-ZA" sz="2900" dirty="0"/>
              <a:t>Review the current operating model between HO, Regions and Management Areas by clearly defining roles and responsibilities.</a:t>
            </a:r>
          </a:p>
          <a:p>
            <a:pPr marL="0" indent="0">
              <a:buNone/>
            </a:pPr>
            <a:endParaRPr lang="en-ZA" sz="2900" dirty="0"/>
          </a:p>
          <a:p>
            <a:pPr>
              <a:buFont typeface="Wingdings" pitchFamily="2" charset="2"/>
              <a:buChar char="q"/>
            </a:pPr>
            <a:r>
              <a:rPr lang="en-ZA" sz="2900" dirty="0"/>
              <a:t>Continuous cost saving initiatives by way of  bid negotiations and strategic procurement initiatives</a:t>
            </a:r>
          </a:p>
          <a:p>
            <a:pPr marL="0" indent="0">
              <a:buNone/>
            </a:pPr>
            <a:endParaRPr lang="en-ZA" sz="2900" dirty="0"/>
          </a:p>
          <a:p>
            <a:pPr lvl="1"/>
            <a:endParaRPr lang="en-ZA" i="1" dirty="0">
              <a:solidFill>
                <a:srgbClr val="FC1908"/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Resource consideration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16117979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94778" y="1122014"/>
            <a:ext cx="8229600" cy="4751661"/>
          </a:xfrm>
        </p:spPr>
        <p:txBody>
          <a:bodyPr>
            <a:normAutofit fontScale="85000" lnSpcReduction="20000"/>
          </a:bodyPr>
          <a:lstStyle/>
          <a:p>
            <a:pPr marL="0" indent="0">
              <a:buNone/>
            </a:pPr>
            <a:r>
              <a:rPr lang="en-ZA" sz="1700" b="1" dirty="0"/>
              <a:t>Critical success factors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Spending in line with the allocated budget and the approved spending plans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Cut fruitless and wasteful expenditure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Reduce irregular expenditure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Eliminate bank overdraft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Training and education of [human capital] resources within the Internal Control and Compliance function.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Management commitment to Improvement of internal controls.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Integrated Planning and Reporting by Assurance Providers.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Strengthening of risk management function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Seamless take-over of PPP contracts </a:t>
            </a:r>
          </a:p>
          <a:p>
            <a:pPr lvl="1"/>
            <a:endParaRPr lang="en-ZA" sz="1700" dirty="0"/>
          </a:p>
          <a:p>
            <a:pPr marL="0" indent="0">
              <a:buNone/>
            </a:pPr>
            <a:r>
              <a:rPr lang="en-ZA" sz="1700" b="1" dirty="0"/>
              <a:t>Dependencies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Credible operational, procurement and spending plans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Improved planning by programme managers and paying service providers on time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Management support [ Being responsive to internal control deficiencies]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Availability of resources (Human capital + software's+ budget).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Proper coordination within functions.</a:t>
            </a:r>
          </a:p>
          <a:p>
            <a:pPr lvl="1">
              <a:lnSpc>
                <a:spcPct val="120000"/>
              </a:lnSpc>
              <a:buFont typeface="Wingdings" pitchFamily="2" charset="2"/>
              <a:buChar char="q"/>
            </a:pPr>
            <a:r>
              <a:rPr lang="en-ZA" sz="1700" dirty="0"/>
              <a:t>Operational Models that support mandate and vision of the department.</a:t>
            </a:r>
          </a:p>
          <a:p>
            <a:pPr lvl="1"/>
            <a:endParaRPr lang="en-ZA" dirty="0"/>
          </a:p>
          <a:p>
            <a:endParaRPr lang="en-ZA" dirty="0"/>
          </a:p>
        </p:txBody>
      </p:sp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ritical success factors and dependencies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5280542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288099" y="186744"/>
            <a:ext cx="864295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Strategic Risks</a:t>
            </a:r>
          </a:p>
        </p:txBody>
      </p:sp>
      <p:graphicFrame>
        <p:nvGraphicFramePr>
          <p:cNvPr id="5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84323803"/>
              </p:ext>
            </p:extLst>
          </p:nvPr>
        </p:nvGraphicFramePr>
        <p:xfrm>
          <a:off x="130711" y="1046594"/>
          <a:ext cx="8957734" cy="246888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14186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65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2827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1176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3373445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540508">
                <a:tc>
                  <a:txBody>
                    <a:bodyPr/>
                    <a:lstStyle/>
                    <a:p>
                      <a:r>
                        <a:rPr lang="en-US" sz="1200" dirty="0"/>
                        <a:t>Outcom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Ri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Probability (High/ Medium/ Low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mpact (High/ Medium/ Low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algn="l" defTabSz="457200" rtl="0" eaLnBrk="1" latinLnBrk="0" hangingPunct="1"/>
                      <a:r>
                        <a:rPr lang="en-US" sz="1200" b="1" kern="1200" dirty="0">
                          <a:solidFill>
                            <a:schemeClr val="lt1"/>
                          </a:solidFill>
                          <a:latin typeface="+mn-lt"/>
                          <a:ea typeface="+mn-ea"/>
                          <a:cs typeface="+mn-cs"/>
                        </a:rPr>
                        <a:t>Mitigation Strategy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11598">
                <a:tc>
                  <a:txBody>
                    <a:bodyPr/>
                    <a:lstStyle/>
                    <a:p>
                      <a:pPr marL="0" lvl="0" algn="l" defTabSz="4572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 provide effective and efficient financial and supply chain manageme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l" defTabSz="457200" rtl="0" eaLnBrk="1" latinLnBrk="0" hangingPunct="1"/>
                      <a:r>
                        <a:rPr lang="en-ZA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adequate funding of programmes</a:t>
                      </a:r>
                    </a:p>
                    <a:p>
                      <a:pPr marL="0" lvl="0" algn="l" defTabSz="457200" rtl="0" eaLnBrk="1" latinLnBrk="0" hangingPunct="1"/>
                      <a:endParaRPr lang="en-ZA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pPr marL="0" marR="0" lvl="0" indent="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ver/under spending of allocated budget </a:t>
                      </a:r>
                    </a:p>
                    <a:p>
                      <a:pPr marL="0" lvl="0" algn="l" defTabSz="457200" rtl="0" eaLnBrk="1" latinLnBrk="0" hangingPunct="1"/>
                      <a:endParaRPr lang="en-US" sz="1200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l" defTabSz="4572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lvl="0" algn="l" defTabSz="457200" rtl="0" eaLnBrk="1" latinLnBrk="0" hangingPunct="1"/>
                      <a:r>
                        <a:rPr lang="en-US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285750" marR="0" lvl="0" indent="-28575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ZA" sz="1200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imely budget reprioritisation and budget controls.</a:t>
                      </a:r>
                    </a:p>
                    <a:p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08862">
                <a:tc>
                  <a:txBody>
                    <a:bodyPr/>
                    <a:lstStyle/>
                    <a:p>
                      <a:r>
                        <a:rPr lang="en-US" sz="1200" baseline="0" dirty="0"/>
                        <a:t>Clean audit outcomes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Inadequate funding of projects</a:t>
                      </a:r>
                      <a:r>
                        <a:rPr lang="en-US" sz="1200" baseline="0" dirty="0"/>
                        <a:t> and </a:t>
                      </a:r>
                      <a:r>
                        <a:rPr lang="en-US" sz="1200" baseline="0" dirty="0" err="1"/>
                        <a:t>programmes</a:t>
                      </a:r>
                      <a:r>
                        <a:rPr lang="en-US" sz="1200" baseline="0" dirty="0"/>
                        <a:t> </a:t>
                      </a:r>
                      <a:endParaRPr lang="en-US" sz="12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High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200" dirty="0"/>
                        <a:t>Medium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indent="-88900">
                        <a:buFont typeface="Arial" panose="020B0604020202020204" pitchFamily="34" charset="0"/>
                        <a:buChar char="•"/>
                      </a:pPr>
                      <a:r>
                        <a:rPr lang="en-US" sz="1200" dirty="0"/>
                        <a:t>Work</a:t>
                      </a:r>
                      <a:r>
                        <a:rPr lang="en-US" sz="1200" baseline="0" dirty="0"/>
                        <a:t> within the limited budget allocation.</a:t>
                      </a:r>
                    </a:p>
                    <a:p>
                      <a:pPr marL="88900" indent="-88900">
                        <a:buFont typeface="Arial" panose="020B0604020202020204" pitchFamily="34" charset="0"/>
                        <a:buChar char="•"/>
                      </a:pPr>
                      <a:r>
                        <a:rPr lang="en-US" sz="1200" baseline="0" dirty="0"/>
                        <a:t>Prioritize budget allocation.</a:t>
                      </a:r>
                      <a:endParaRPr lang="en-US" sz="12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2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12071743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Slide1 Template_1.2_back.jpg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1234528" y="271596"/>
            <a:ext cx="4522887" cy="70789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000" dirty="0">
                <a:solidFill>
                  <a:prstClr val="white"/>
                </a:solidFill>
                <a:latin typeface="Calibri"/>
                <a:cs typeface="Arial Black"/>
              </a:rPr>
              <a:t>Thank You</a:t>
            </a:r>
          </a:p>
        </p:txBody>
      </p:sp>
      <p:sp>
        <p:nvSpPr>
          <p:cNvPr id="13" name="TextBox 12"/>
          <p:cNvSpPr txBox="1"/>
          <p:nvPr/>
        </p:nvSpPr>
        <p:spPr>
          <a:xfrm>
            <a:off x="1079500" y="423996"/>
            <a:ext cx="6338176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400" b="1" dirty="0">
                <a:solidFill>
                  <a:srgbClr val="00B050"/>
                </a:solidFill>
              </a:rPr>
              <a:t>THANK YOU</a:t>
            </a:r>
          </a:p>
          <a:p>
            <a:pPr algn="ctr"/>
            <a:endParaRPr lang="en-ZA" sz="2400" b="1" dirty="0">
              <a:solidFill>
                <a:srgbClr val="00B050"/>
              </a:solidFill>
            </a:endParaRPr>
          </a:p>
          <a:p>
            <a:pPr algn="ctr"/>
            <a:r>
              <a:rPr lang="en-ZA" sz="2400" b="1" dirty="0">
                <a:solidFill>
                  <a:srgbClr val="00B050"/>
                </a:solidFill>
              </a:rPr>
              <a:t>STRIVING FOR A SOUTH AFRICA IN WHICH PEOPLE ARE AND FEEL SAFE</a:t>
            </a:r>
          </a:p>
        </p:txBody>
      </p:sp>
    </p:spTree>
    <p:extLst>
      <p:ext uri="{BB962C8B-B14F-4D97-AF65-F5344CB8AC3E}">
        <p14:creationId xmlns:p14="http://schemas.microsoft.com/office/powerpoint/2010/main" val="423374534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ontent Placeholder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183517208"/>
              </p:ext>
            </p:extLst>
          </p:nvPr>
        </p:nvGraphicFramePr>
        <p:xfrm>
          <a:off x="457200" y="1102290"/>
          <a:ext cx="8461332" cy="460636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TextBox 4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omposition of Branch Finance </a:t>
            </a:r>
          </a:p>
        </p:txBody>
      </p:sp>
      <p:graphicFrame>
        <p:nvGraphicFramePr>
          <p:cNvPr id="2" name="Diagram 1"/>
          <p:cNvGraphicFramePr/>
          <p:nvPr>
            <p:extLst>
              <p:ext uri="{D42A27DB-BD31-4B8C-83A1-F6EECF244321}">
                <p14:modId xmlns:p14="http://schemas.microsoft.com/office/powerpoint/2010/main" val="3420968503"/>
              </p:ext>
            </p:extLst>
          </p:nvPr>
        </p:nvGraphicFramePr>
        <p:xfrm>
          <a:off x="1524000" y="1397000"/>
          <a:ext cx="609600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4231155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0" y="109538"/>
            <a:ext cx="8229600" cy="771140"/>
          </a:xfrm>
        </p:spPr>
        <p:txBody>
          <a:bodyPr>
            <a:normAutofit/>
          </a:bodyPr>
          <a:lstStyle/>
          <a:p>
            <a:pPr lvl="0">
              <a:spcBef>
                <a:spcPts val="0"/>
              </a:spcBef>
            </a:pPr>
            <a:r>
              <a:rPr lang="en-US" sz="2800" b="1" dirty="0">
                <a:solidFill>
                  <a:srgbClr val="00B050"/>
                </a:solidFill>
                <a:ea typeface="+mn-ea"/>
                <a:cs typeface="+mn-cs"/>
              </a:rPr>
              <a:t>Summary of the 2018 Strategic Planning Session</a:t>
            </a:r>
            <a:endParaRPr lang="en-ZA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50384607"/>
              </p:ext>
            </p:extLst>
          </p:nvPr>
        </p:nvGraphicFramePr>
        <p:xfrm>
          <a:off x="533400" y="317500"/>
          <a:ext cx="8280400" cy="6870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08000" y="1050156"/>
            <a:ext cx="8229600" cy="7711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2800" b="1" dirty="0">
                <a:solidFill>
                  <a:srgbClr val="00B050"/>
                </a:solidFill>
                <a:ea typeface="+mn-ea"/>
                <a:cs typeface="+mn-cs"/>
              </a:rPr>
              <a:t>5 Year Strategic Intent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166829963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0" y="109538"/>
            <a:ext cx="8229600" cy="771140"/>
          </a:xfrm>
        </p:spPr>
        <p:txBody>
          <a:bodyPr>
            <a:normAutofit/>
          </a:bodyPr>
          <a:lstStyle/>
          <a:p>
            <a:pPr lvl="0">
              <a:spcBef>
                <a:spcPts val="0"/>
              </a:spcBef>
            </a:pPr>
            <a:r>
              <a:rPr lang="en-US" sz="2800" b="1" dirty="0">
                <a:solidFill>
                  <a:srgbClr val="00B050"/>
                </a:solidFill>
                <a:ea typeface="+mn-ea"/>
                <a:cs typeface="+mn-cs"/>
              </a:rPr>
              <a:t>Summary of the 2018 Strategic Planning Session</a:t>
            </a:r>
            <a:endParaRPr lang="en-ZA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1515683676"/>
              </p:ext>
            </p:extLst>
          </p:nvPr>
        </p:nvGraphicFramePr>
        <p:xfrm>
          <a:off x="533400" y="317500"/>
          <a:ext cx="8280400" cy="6870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08000" y="1050156"/>
            <a:ext cx="8229600" cy="7711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2800" b="1" dirty="0">
                <a:solidFill>
                  <a:srgbClr val="00B050"/>
                </a:solidFill>
                <a:ea typeface="+mn-ea"/>
                <a:cs typeface="+mn-cs"/>
              </a:rPr>
              <a:t>10 Year Strategic Intent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341458928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600" y="109538"/>
            <a:ext cx="8229600" cy="771140"/>
          </a:xfrm>
        </p:spPr>
        <p:txBody>
          <a:bodyPr>
            <a:normAutofit/>
          </a:bodyPr>
          <a:lstStyle/>
          <a:p>
            <a:pPr lvl="0">
              <a:spcBef>
                <a:spcPts val="0"/>
              </a:spcBef>
            </a:pPr>
            <a:r>
              <a:rPr lang="en-US" sz="2800" b="1" dirty="0">
                <a:solidFill>
                  <a:srgbClr val="00B050"/>
                </a:solidFill>
                <a:ea typeface="+mn-ea"/>
                <a:cs typeface="+mn-cs"/>
              </a:rPr>
              <a:t>Summary of the 2018 Strategic Planning Session</a:t>
            </a:r>
            <a:endParaRPr lang="en-ZA" dirty="0"/>
          </a:p>
        </p:txBody>
      </p:sp>
      <p:graphicFrame>
        <p:nvGraphicFramePr>
          <p:cNvPr id="3" name="Diagram 2"/>
          <p:cNvGraphicFramePr/>
          <p:nvPr>
            <p:extLst>
              <p:ext uri="{D42A27DB-BD31-4B8C-83A1-F6EECF244321}">
                <p14:modId xmlns:p14="http://schemas.microsoft.com/office/powerpoint/2010/main" val="770607646"/>
              </p:ext>
            </p:extLst>
          </p:nvPr>
        </p:nvGraphicFramePr>
        <p:xfrm>
          <a:off x="533400" y="317500"/>
          <a:ext cx="8280400" cy="6870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4" name="Title 1"/>
          <p:cNvSpPr txBox="1">
            <a:spLocks/>
          </p:cNvSpPr>
          <p:nvPr/>
        </p:nvSpPr>
        <p:spPr>
          <a:xfrm>
            <a:off x="508000" y="1050156"/>
            <a:ext cx="8229600" cy="77114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ctr" defTabSz="4572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spcBef>
                <a:spcPts val="0"/>
              </a:spcBef>
            </a:pPr>
            <a:r>
              <a:rPr lang="en-US" sz="2800" b="1" dirty="0">
                <a:solidFill>
                  <a:srgbClr val="00B050"/>
                </a:solidFill>
                <a:ea typeface="+mn-ea"/>
                <a:cs typeface="+mn-cs"/>
              </a:rPr>
              <a:t>50 Year Strategic Intent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26397235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968553230"/>
              </p:ext>
            </p:extLst>
          </p:nvPr>
        </p:nvGraphicFramePr>
        <p:xfrm>
          <a:off x="76200" y="989330"/>
          <a:ext cx="8966200" cy="3881120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1980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45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684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351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What are the core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ow are these delivered </a:t>
                      </a:r>
                    </a:p>
                    <a:p>
                      <a:r>
                        <a:rPr lang="en-ZA" dirty="0"/>
                        <a:t>(service</a:t>
                      </a:r>
                      <a:r>
                        <a:rPr lang="en-ZA" baseline="0" dirty="0"/>
                        <a:t> delivery arrangements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eaknesses</a:t>
                      </a:r>
                      <a:r>
                        <a:rPr lang="en-ZA" baseline="0" dirty="0"/>
                        <a:t> with the current arrangement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igh</a:t>
                      </a:r>
                      <a:r>
                        <a:rPr lang="en-ZA" baseline="0" dirty="0"/>
                        <a:t> level intervention/alternative modes of delivery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177800" indent="-17780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i="0" u="none" strike="noStrike" baseline="0" dirty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Monitor compliance with relevant prescriptions through  provision of inspection activities. </a:t>
                      </a:r>
                    </a:p>
                    <a:p>
                      <a:pPr marL="177800" indent="-17780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endParaRPr lang="en-ZA" sz="1400" b="0" i="0" u="none" strike="noStrike" baseline="0" dirty="0">
                        <a:solidFill>
                          <a:srgbClr val="00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177800" indent="-177800">
                        <a:lnSpc>
                          <a:spcPct val="150000"/>
                        </a:lnSpc>
                        <a:buFont typeface="Arial" panose="020B0604020202020204" pitchFamily="34" charset="0"/>
                        <a:buChar char="•"/>
                      </a:pPr>
                      <a:r>
                        <a:rPr lang="en-ZA" sz="1400" b="0" i="0" u="none" strike="noStrike" baseline="0" dirty="0">
                          <a:solidFill>
                            <a:srgbClr val="000000"/>
                          </a:solidFill>
                          <a:latin typeface="+mn-lt"/>
                          <a:cs typeface="Arial" panose="020B0604020202020204" pitchFamily="34" charset="0"/>
                        </a:rPr>
                        <a:t>Investigations of irregular and fruitless expenditure</a:t>
                      </a:r>
                    </a:p>
                    <a:p>
                      <a:endParaRPr lang="en-ZA" sz="1400" b="1" i="0" u="sng" strike="noStrike" baseline="0" dirty="0">
                        <a:solidFill>
                          <a:srgbClr val="000000"/>
                        </a:solidFill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Perform</a:t>
                      </a:r>
                      <a:r>
                        <a:rPr lang="en-ZA" sz="1400" baseline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spections at regions, correctional centres including public-private partnership correctional centres and community corrections.</a:t>
                      </a:r>
                    </a:p>
                    <a:p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vestigate irregular, fruitless and wasteful expenditure.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indent="-88900">
                        <a:lnSpc>
                          <a:spcPct val="100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adequate compliance monitoring coverage.</a:t>
                      </a:r>
                    </a:p>
                    <a:p>
                      <a:pPr marL="88900" indent="-88900">
                        <a:lnSpc>
                          <a:spcPct val="100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adequate /</a:t>
                      </a:r>
                      <a:r>
                        <a:rPr lang="en-ZA" sz="1400" baseline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ssurance gap on compliance </a:t>
                      </a:r>
                    </a:p>
                    <a:p>
                      <a:pPr marL="88900" indent="-88900">
                        <a:lnSpc>
                          <a:spcPct val="100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Delays</a:t>
                      </a:r>
                      <a:r>
                        <a:rPr lang="en-ZA" sz="1400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 in investigations and consequence management 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marR="0" lvl="0" indent="-88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view internal control and compliance functions 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0" indent="0">
                        <a:buFont typeface="Arial" panose="020B0604020202020204" pitchFamily="34" charset="0"/>
                        <a:buNone/>
                      </a:pPr>
                      <a:endParaRPr lang="en-ZA" sz="1400" baseline="0" dirty="0">
                        <a:latin typeface="+mn-lt"/>
                        <a:cs typeface="Arial" panose="020B0604020202020204" pitchFamily="34" charset="0"/>
                      </a:endParaRPr>
                    </a:p>
                    <a:p>
                      <a:pPr marL="88900" indent="-88900">
                        <a:buFont typeface="Arial" panose="020B0604020202020204" pitchFamily="34" charset="0"/>
                        <a:buChar char="•"/>
                      </a:pP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457200" y="1867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urrent delivery method – ICC [1/3]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2882927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27776709"/>
              </p:ext>
            </p:extLst>
          </p:nvPr>
        </p:nvGraphicFramePr>
        <p:xfrm>
          <a:off x="76200" y="989330"/>
          <a:ext cx="8966200" cy="4233164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1980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2476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6700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733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What are the core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ow are these delivered </a:t>
                      </a:r>
                    </a:p>
                    <a:p>
                      <a:r>
                        <a:rPr lang="en-ZA" dirty="0"/>
                        <a:t>(service</a:t>
                      </a:r>
                      <a:r>
                        <a:rPr lang="en-ZA" baseline="0" dirty="0"/>
                        <a:t> delivery arrangements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eaknesses</a:t>
                      </a:r>
                      <a:r>
                        <a:rPr lang="en-ZA" baseline="0" dirty="0"/>
                        <a:t> with the current arrangement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igh</a:t>
                      </a:r>
                      <a:r>
                        <a:rPr lang="en-ZA" baseline="0" dirty="0"/>
                        <a:t> level intervention/alternative modes of delivery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aintain an effective, efficient and transparent </a:t>
                      </a:r>
                      <a:r>
                        <a:rPr lang="en-ZA" sz="1400" b="0" u="none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ternal control system</a:t>
                      </a:r>
                      <a:r>
                        <a:rPr lang="en-ZA" sz="1400" b="0" u="none" baseline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to ensure:-</a:t>
                      </a:r>
                      <a:endParaRPr lang="en-ZA" sz="14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342900" indent="-342900">
                        <a:lnSpc>
                          <a:spcPct val="150000"/>
                        </a:lnSpc>
                        <a:buAutoNum type="arabicParenR"/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effectiveness and efficiency of operations, 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AutoNum type="arabicParenR"/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eliability of financial information, and </a:t>
                      </a:r>
                    </a:p>
                    <a:p>
                      <a:pPr marL="342900" indent="-342900">
                        <a:lnSpc>
                          <a:spcPct val="150000"/>
                        </a:lnSpc>
                        <a:buAutoNum type="arabicParenR"/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ompliance with laws and regulations.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Monitoring</a:t>
                      </a:r>
                      <a:r>
                        <a:rPr lang="en-ZA" sz="1400" baseline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of audit action plans to ensure adequacy and effectiveness in a timely manner.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ZA" sz="1400" baseline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evelop guidelines and frameworks for internal controls.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ZA" sz="1400" baseline="0" dirty="0">
                          <a:effectLst/>
                          <a:latin typeface="+mn-lt"/>
                          <a:cs typeface="Arial" panose="020B0604020202020204" pitchFamily="34" charset="0"/>
                        </a:rPr>
                        <a:t>Support management to design internal controls.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indent="-88900">
                        <a:lnSpc>
                          <a:spcPct val="100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Inadequate coverage on scope </a:t>
                      </a:r>
                      <a:r>
                        <a:rPr lang="en-ZA" sz="1400" baseline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due to </a:t>
                      </a: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pacity constraints.</a:t>
                      </a:r>
                    </a:p>
                    <a:p>
                      <a:pPr marL="88900" indent="-88900">
                        <a:lnSpc>
                          <a:spcPct val="100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Lack of integrated assurance planning/ combined assurance. 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marR="0" lvl="0" indent="-88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view internal control and compliance functions </a:t>
                      </a: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6200" y="-78141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urrent delivery method – ICC [2/3]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734772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221119558"/>
              </p:ext>
            </p:extLst>
          </p:nvPr>
        </p:nvGraphicFramePr>
        <p:xfrm>
          <a:off x="76200" y="989330"/>
          <a:ext cx="8966200" cy="3955796"/>
        </p:xfrm>
        <a:graphic>
          <a:graphicData uri="http://schemas.openxmlformats.org/drawingml/2006/table">
            <a:tbl>
              <a:tblPr firstRow="1" bandRow="1">
                <a:tableStyleId>{F5AB1C69-6EDB-4FF4-983F-18BD219EF322}</a:tableStyleId>
              </a:tblPr>
              <a:tblGrid>
                <a:gridCol w="319808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6451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51765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8859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ZA" dirty="0"/>
                        <a:t>What are the core servic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ow are these delivered </a:t>
                      </a:r>
                    </a:p>
                    <a:p>
                      <a:r>
                        <a:rPr lang="en-ZA" dirty="0"/>
                        <a:t>(service</a:t>
                      </a:r>
                      <a:r>
                        <a:rPr lang="en-ZA" baseline="0" dirty="0"/>
                        <a:t> delivery arrangements)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Weaknesses</a:t>
                      </a:r>
                      <a:r>
                        <a:rPr lang="en-ZA" baseline="0" dirty="0"/>
                        <a:t> with the current arrangements</a:t>
                      </a:r>
                      <a:endParaRPr lang="en-ZA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dirty="0"/>
                        <a:t>High</a:t>
                      </a:r>
                      <a:r>
                        <a:rPr lang="en-ZA" baseline="0" dirty="0"/>
                        <a:t> level intervention/alternative modes of delivery</a:t>
                      </a:r>
                      <a:endParaRPr lang="en-ZA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oll-out Enterprise-wide </a:t>
                      </a:r>
                      <a:r>
                        <a:rPr lang="en-ZA" sz="1400" b="1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isk Management</a:t>
                      </a: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(ERM) process</a:t>
                      </a:r>
                      <a:r>
                        <a:rPr lang="en-ZA" sz="1400" baseline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across the entire department including regions and improve risk maturity level within department. </a:t>
                      </a: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1000"/>
                        </a:spcAft>
                      </a:pP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indent="-88900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isk facilitation at strategic and operational levels </a:t>
                      </a:r>
                    </a:p>
                    <a:p>
                      <a:pPr marL="88900" indent="-88900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Char char="•"/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Risk monitoring reports.</a:t>
                      </a:r>
                    </a:p>
                    <a:p>
                      <a:pPr marL="0" indent="0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None/>
                      </a:pP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77800" lvl="0" indent="-177800">
                        <a:lnSpc>
                          <a:spcPct val="115000"/>
                        </a:lnSpc>
                        <a:spcAft>
                          <a:spcPts val="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Capacity constraints.</a:t>
                      </a:r>
                    </a:p>
                    <a:p>
                      <a:pPr marL="177800" lvl="0" indent="-177800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Symbol" panose="05050102010706020507" pitchFamily="18" charset="2"/>
                        <a:buChar char=""/>
                      </a:pPr>
                      <a:endParaRPr lang="en-ZA" sz="14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177800" lvl="0" indent="-177800">
                        <a:lnSpc>
                          <a:spcPct val="115000"/>
                        </a:lnSpc>
                        <a:spcAft>
                          <a:spcPts val="1000"/>
                        </a:spcAft>
                        <a:buFont typeface="Symbol" panose="05050102010706020507" pitchFamily="18" charset="2"/>
                        <a:buChar char=""/>
                      </a:pPr>
                      <a:r>
                        <a:rPr lang="en-ZA" sz="140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Failure</a:t>
                      </a:r>
                      <a:r>
                        <a:rPr lang="en-ZA" sz="1400" baseline="0" dirty="0">
                          <a:effectLst/>
                          <a:latin typeface="+mn-lt"/>
                          <a:ea typeface="Calibri" panose="020F0502020204030204" pitchFamily="34" charset="0"/>
                          <a:cs typeface="Arial" panose="020B0604020202020204" pitchFamily="34" charset="0"/>
                        </a:rPr>
                        <a:t> to  leverage the benefits of risk management within the department</a:t>
                      </a:r>
                      <a:endParaRPr lang="en-ZA" sz="1400" dirty="0">
                        <a:effectLst/>
                        <a:latin typeface="+mn-lt"/>
                        <a:ea typeface="Calibri" panose="020F0502020204030204" pitchFamily="34" charset="0"/>
                        <a:cs typeface="Arial" panose="020B0604020202020204" pitchFamily="34" charset="0"/>
                      </a:endParaRPr>
                    </a:p>
                    <a:p>
                      <a:pPr marL="88900" indent="-88900">
                        <a:lnSpc>
                          <a:spcPct val="100000"/>
                        </a:lnSpc>
                        <a:spcAft>
                          <a:spcPts val="1000"/>
                        </a:spcAft>
                        <a:buFont typeface="Arial" panose="020B0604020202020204" pitchFamily="34" charset="0"/>
                        <a:buChar char="•"/>
                      </a:pPr>
                      <a:endParaRPr lang="en-ZA" sz="1400" dirty="0">
                        <a:latin typeface="+mn-lt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88900" marR="0" lvl="0" indent="-88900" algn="l" defTabSz="457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kumimoji="0" lang="en-ZA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black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Arial" panose="020B0604020202020204" pitchFamily="34" charset="0"/>
                        </a:rPr>
                        <a:t>Re-organise risk management and governance functions 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76200" y="8944"/>
            <a:ext cx="822960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</a:rPr>
              <a:t>Current delivery method – ICC [3/3]</a:t>
            </a:r>
          </a:p>
        </p:txBody>
      </p:sp>
      <p:sp>
        <p:nvSpPr>
          <p:cNvPr id="2" name="Slide Number Placehold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FCEFFF0-9380-7049-A803-178CCBCDB80F}" type="slidenum">
              <a:rPr lang="en-US" smtClean="0"/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842128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7xKqHXCsmEqpYS9D3W9JOA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3_Blank">
  <a:themeElements>
    <a:clrScheme name="Blank 1">
      <a:dk1>
        <a:srgbClr val="000000"/>
      </a:dk1>
      <a:lt1>
        <a:srgbClr val="FFFFFF"/>
      </a:lt1>
      <a:dk2>
        <a:srgbClr val="000000"/>
      </a:dk2>
      <a:lt2>
        <a:srgbClr val="7D0900"/>
      </a:lt2>
      <a:accent1>
        <a:srgbClr val="808080"/>
      </a:accent1>
      <a:accent2>
        <a:srgbClr val="A0A0A0"/>
      </a:accent2>
      <a:accent3>
        <a:srgbClr val="FFFFFF"/>
      </a:accent3>
      <a:accent4>
        <a:srgbClr val="000000"/>
      </a:accent4>
      <a:accent5>
        <a:srgbClr val="C0C0C0"/>
      </a:accent5>
      <a:accent6>
        <a:srgbClr val="919191"/>
      </a:accent6>
      <a:hlink>
        <a:srgbClr val="B9B9B9"/>
      </a:hlink>
      <a:folHlink>
        <a:srgbClr val="DCDCDC"/>
      </a:folHlink>
    </a:clrScheme>
    <a:fontScheme name="Blank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bg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72000" numCol="1" anchor="t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90000"/>
          </a:lnSpc>
          <a:spcBef>
            <a:spcPct val="50000"/>
          </a:spcBef>
          <a:spcAft>
            <a:spcPct val="0"/>
          </a:spcAft>
          <a:buClr>
            <a:schemeClr val="bg2"/>
          </a:buClr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  <a:cs typeface="Arial" charset="0"/>
          </a:defRPr>
        </a:defPPr>
      </a:lstStyle>
    </a:lnDef>
  </a:objectDefaults>
  <a:extraClrSchemeLst>
    <a:extraClrScheme>
      <a:clrScheme name="Blank 1">
        <a:dk1>
          <a:srgbClr val="000000"/>
        </a:dk1>
        <a:lt1>
          <a:srgbClr val="FFFFFF"/>
        </a:lt1>
        <a:dk2>
          <a:srgbClr val="000000"/>
        </a:dk2>
        <a:lt2>
          <a:srgbClr val="7D0900"/>
        </a:lt2>
        <a:accent1>
          <a:srgbClr val="808080"/>
        </a:accent1>
        <a:accent2>
          <a:srgbClr val="A0A0A0"/>
        </a:accent2>
        <a:accent3>
          <a:srgbClr val="FFFFFF"/>
        </a:accent3>
        <a:accent4>
          <a:srgbClr val="000000"/>
        </a:accent4>
        <a:accent5>
          <a:srgbClr val="C0C0C0"/>
        </a:accent5>
        <a:accent6>
          <a:srgbClr val="919191"/>
        </a:accent6>
        <a:hlink>
          <a:srgbClr val="B9B9B9"/>
        </a:hlink>
        <a:folHlink>
          <a:srgbClr val="DCDCD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05</TotalTime>
  <Words>2279</Words>
  <Application>Microsoft Office PowerPoint</Application>
  <PresentationFormat>On-screen Show (4:3)</PresentationFormat>
  <Paragraphs>416</Paragraphs>
  <Slides>27</Slides>
  <Notes>5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0</vt:i4>
      </vt:variant>
      <vt:variant>
        <vt:lpstr>Slide Titles</vt:lpstr>
      </vt:variant>
      <vt:variant>
        <vt:i4>27</vt:i4>
      </vt:variant>
    </vt:vector>
  </HeadingPairs>
  <TitlesOfParts>
    <vt:vector size="34" baseType="lpstr">
      <vt:lpstr>Arial</vt:lpstr>
      <vt:lpstr>Arial Unicode MS</vt:lpstr>
      <vt:lpstr>Calibri</vt:lpstr>
      <vt:lpstr>Symbol</vt:lpstr>
      <vt:lpstr>Wingdings</vt:lpstr>
      <vt:lpstr>Office Theme</vt:lpstr>
      <vt:lpstr>3_Blank</vt:lpstr>
      <vt:lpstr>PowerPoint Presentation</vt:lpstr>
      <vt:lpstr>PowerPoint Presentation</vt:lpstr>
      <vt:lpstr>PowerPoint Presentation</vt:lpstr>
      <vt:lpstr>Summary of the 2018 Strategic Planning Session</vt:lpstr>
      <vt:lpstr>Summary of the 2018 Strategic Planning Session</vt:lpstr>
      <vt:lpstr>Summary of the 2018 Strategic Planning Sess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User</dc:creator>
  <cp:lastModifiedBy>Kopbc1</cp:lastModifiedBy>
  <cp:revision>217</cp:revision>
  <cp:lastPrinted>2019-08-16T07:21:14Z</cp:lastPrinted>
  <dcterms:created xsi:type="dcterms:W3CDTF">2015-07-10T13:05:49Z</dcterms:created>
  <dcterms:modified xsi:type="dcterms:W3CDTF">2019-08-16T07:23:50Z</dcterms:modified>
</cp:coreProperties>
</file>